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3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60" r:id="rId2"/>
    <p:sldMasterId id="2147483677" r:id="rId3"/>
    <p:sldMasterId id="2147483689" r:id="rId4"/>
  </p:sldMasterIdLst>
  <p:notesMasterIdLst>
    <p:notesMasterId r:id="rId11"/>
  </p:notesMasterIdLst>
  <p:sldIdLst>
    <p:sldId id="256" r:id="rId5"/>
    <p:sldId id="294" r:id="rId6"/>
    <p:sldId id="287" r:id="rId7"/>
    <p:sldId id="284" r:id="rId8"/>
    <p:sldId id="306" r:id="rId9"/>
    <p:sldId id="307" r:id="rId10"/>
  </p:sldIdLst>
  <p:sldSz cx="9144000" cy="6858000" type="screen4x3"/>
  <p:notesSz cx="6858000" cy="9144000"/>
  <p:defaultTextStyle>
    <a:defPPr>
      <a:defRPr lang="it-IT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E2F76"/>
    <a:srgbClr val="1E3078"/>
    <a:srgbClr val="E7792B"/>
    <a:srgbClr val="D07421"/>
    <a:srgbClr val="C3681C"/>
    <a:srgbClr val="4D933B"/>
    <a:srgbClr val="C36569"/>
    <a:srgbClr val="C17073"/>
    <a:srgbClr val="15377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178" autoAdjust="0"/>
    <p:restoredTop sz="96370" autoAdjust="0"/>
  </p:normalViewPr>
  <p:slideViewPr>
    <p:cSldViewPr snapToGrid="0" snapToObjects="1">
      <p:cViewPr varScale="1">
        <p:scale>
          <a:sx n="111" d="100"/>
          <a:sy n="111" d="100"/>
        </p:scale>
        <p:origin x="1620" y="11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tableStyles" Target="tableStyle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03BC154-46DC-2445-9234-46B341D22A22}" type="datetimeFigureOut">
              <a:rPr lang="it-IT" smtClean="0"/>
              <a:t>18/10/2016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DE773F1-FE25-3245-9F1A-9BED75C068E2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48046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E773F1-FE25-3245-9F1A-9BED75C068E2}" type="slidenum">
              <a:rPr lang="it-IT" smtClean="0"/>
              <a:t>1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30087004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E773F1-FE25-3245-9F1A-9BED75C068E2}" type="slidenum">
              <a:rPr lang="it-IT" smtClean="0">
                <a:solidFill>
                  <a:prstClr val="black"/>
                </a:solidFill>
              </a:rPr>
              <a:pPr/>
              <a:t>2</a:t>
            </a:fld>
            <a:endParaRPr lang="it-I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17875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aseline="0" dirty="0"/>
              <a:t>. </a:t>
            </a:r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E773F1-FE25-3245-9F1A-9BED75C068E2}" type="slidenum">
              <a:rPr lang="it-IT">
                <a:solidFill>
                  <a:prstClr val="black"/>
                </a:solidFill>
              </a:rPr>
              <a:pPr/>
              <a:t>3</a:t>
            </a:fld>
            <a:endParaRPr lang="it-I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511346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E773F1-FE25-3245-9F1A-9BED75C068E2}" type="slidenum">
              <a:rPr lang="it-IT" smtClean="0">
                <a:solidFill>
                  <a:prstClr val="black"/>
                </a:solidFill>
              </a:rPr>
              <a:pPr/>
              <a:t>5</a:t>
            </a:fld>
            <a:endParaRPr lang="it-I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569425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E773F1-FE25-3245-9F1A-9BED75C068E2}" type="slidenum">
              <a:rPr lang="it-IT" smtClean="0">
                <a:solidFill>
                  <a:prstClr val="black"/>
                </a:solidFill>
              </a:rPr>
              <a:pPr/>
              <a:t>6</a:t>
            </a:fld>
            <a:endParaRPr lang="it-I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33537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4" Type="http://schemas.openxmlformats.org/officeDocument/2006/relationships/oleObject" Target="../embeddings/oleObject4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4" Type="http://schemas.openxmlformats.org/officeDocument/2006/relationships/oleObject" Target="../embeddings/oleObject6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4" Type="http://schemas.openxmlformats.org/officeDocument/2006/relationships/oleObject" Target="../embeddings/oleObject8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4" Type="http://schemas.openxmlformats.org/officeDocument/2006/relationships/oleObject" Target="../embeddings/oleObject9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4" Type="http://schemas.openxmlformats.org/officeDocument/2006/relationships/oleObject" Target="../embeddings/oleObject10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jpeg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jpeg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jpeg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14.bin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it-IT"/>
              <a:t>Fare clic per modificare stile</a:t>
            </a:r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54C701-E45B-2345-9004-1657FEDD3455}" type="datetimeFigureOut">
              <a:rPr lang="it-IT" smtClean="0"/>
              <a:t>18/10/2016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4B4B36-5418-FA4E-9B63-F4E7B237B159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5900212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stile</a:t>
            </a:r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54C701-E45B-2345-9004-1657FEDD3455}" type="datetimeFigureOut">
              <a:rPr lang="it-IT" smtClean="0"/>
              <a:t>18/10/2016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4B4B36-5418-FA4E-9B63-F4E7B237B159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458496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olo verticale e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it-IT"/>
              <a:t>Fare clic per modificare stile</a:t>
            </a:r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54C701-E45B-2345-9004-1657FEDD3455}" type="datetimeFigureOut">
              <a:rPr lang="it-IT" smtClean="0"/>
              <a:t>18/10/2016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4B4B36-5418-FA4E-9B63-F4E7B237B159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03863124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1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1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it-IT"/>
              <a:t>Fare clic per modificare lo stile del titolo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it-IT"/>
              <a:t>Fare clic per modificare lo stile del sottotitolo dello schema</a:t>
            </a:r>
            <a:endParaRPr lang="en-GB"/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dirty="0" smtClean="0"/>
            </a:lvl1pPr>
          </a:lstStyle>
          <a:p>
            <a:endParaRPr lang="en-US" dirty="0">
              <a:solidFill>
                <a:srgbClr val="616365"/>
              </a:solidFill>
            </a:endParaRPr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fld id="{0E08B96D-DCEB-4B6D-BD97-A1B03559D215}" type="slidenum">
              <a:rPr lang="en-US">
                <a:solidFill>
                  <a:srgbClr val="616365"/>
                </a:solidFill>
              </a:rPr>
              <a:pPr/>
              <a:t>‹#›</a:t>
            </a:fld>
            <a:endParaRPr lang="en-US" dirty="0">
              <a:solidFill>
                <a:srgbClr val="61636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485319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5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/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dirty="0" smtClean="0"/>
            </a:lvl1pPr>
          </a:lstStyle>
          <a:p>
            <a:endParaRPr lang="en-US" dirty="0">
              <a:solidFill>
                <a:srgbClr val="616365"/>
              </a:solidFill>
            </a:endParaRPr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fld id="{0E08B96D-DCEB-4B6D-BD97-A1B03559D215}" type="slidenum">
              <a:rPr lang="en-US">
                <a:solidFill>
                  <a:srgbClr val="616365"/>
                </a:solidFill>
              </a:rPr>
              <a:pPr/>
              <a:t>‹#›</a:t>
            </a:fld>
            <a:endParaRPr lang="en-US" dirty="0">
              <a:solidFill>
                <a:srgbClr val="61636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79625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1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9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it-IT"/>
              <a:t>Fare clic per modificare lo stile del titolo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dirty="0" smtClean="0"/>
            </a:lvl1pPr>
          </a:lstStyle>
          <a:p>
            <a:endParaRPr lang="en-US" dirty="0">
              <a:solidFill>
                <a:srgbClr val="616365"/>
              </a:solidFill>
            </a:endParaRPr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fld id="{0E08B96D-DCEB-4B6D-BD97-A1B03559D215}" type="slidenum">
              <a:rPr lang="en-US">
                <a:solidFill>
                  <a:srgbClr val="616365"/>
                </a:solidFill>
              </a:rPr>
              <a:pPr/>
              <a:t>‹#›</a:t>
            </a:fld>
            <a:endParaRPr lang="en-US" dirty="0">
              <a:solidFill>
                <a:srgbClr val="61636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090621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3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dirty="0" smtClean="0"/>
            </a:lvl1pPr>
          </a:lstStyle>
          <a:p>
            <a:endParaRPr lang="en-US" dirty="0">
              <a:solidFill>
                <a:srgbClr val="616365"/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fld id="{0E08B96D-DCEB-4B6D-BD97-A1B03559D215}" type="slidenum">
              <a:rPr lang="en-US">
                <a:solidFill>
                  <a:srgbClr val="616365"/>
                </a:solidFill>
              </a:rPr>
              <a:pPr/>
              <a:t>‹#›</a:t>
            </a:fld>
            <a:endParaRPr lang="en-US" dirty="0">
              <a:solidFill>
                <a:srgbClr val="61636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525819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Rectangle 11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7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it-IT"/>
              <a:t>Fare clic per modificare lo stile del titolo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/>
          </a:p>
        </p:txBody>
      </p:sp>
      <p:sp>
        <p:nvSpPr>
          <p:cNvPr id="10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dirty="0" smtClean="0"/>
            </a:lvl1pPr>
          </a:lstStyle>
          <a:p>
            <a:endParaRPr lang="en-US" dirty="0">
              <a:solidFill>
                <a:srgbClr val="616365"/>
              </a:solidFill>
            </a:endParaRPr>
          </a:p>
        </p:txBody>
      </p:sp>
      <p:sp>
        <p:nvSpPr>
          <p:cNvPr id="11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fld id="{0E08B96D-DCEB-4B6D-BD97-A1B03559D215}" type="slidenum">
              <a:rPr lang="en-US">
                <a:solidFill>
                  <a:srgbClr val="616365"/>
                </a:solidFill>
              </a:rPr>
              <a:pPr/>
              <a:t>‹#›</a:t>
            </a:fld>
            <a:endParaRPr lang="en-US" dirty="0">
              <a:solidFill>
                <a:srgbClr val="61636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191154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11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1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 dirty="0"/>
          </a:p>
        </p:txBody>
      </p:sp>
      <p:sp>
        <p:nvSpPr>
          <p:cNvPr id="6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dirty="0" smtClean="0"/>
            </a:lvl1pPr>
          </a:lstStyle>
          <a:p>
            <a:endParaRPr lang="en-US" dirty="0">
              <a:solidFill>
                <a:srgbClr val="616365"/>
              </a:solidFill>
            </a:endParaRP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fld id="{0E08B96D-DCEB-4B6D-BD97-A1B03559D215}" type="slidenum">
              <a:rPr lang="en-US">
                <a:solidFill>
                  <a:srgbClr val="616365"/>
                </a:solidFill>
              </a:rPr>
              <a:pPr/>
              <a:t>‹#›</a:t>
            </a:fld>
            <a:endParaRPr lang="en-US" dirty="0">
              <a:solidFill>
                <a:srgbClr val="61636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68301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Rectangle 11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5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dirty="0" smtClean="0"/>
            </a:lvl1pPr>
          </a:lstStyle>
          <a:p>
            <a:endParaRPr lang="en-US" dirty="0">
              <a:solidFill>
                <a:srgbClr val="616365"/>
              </a:solidFill>
            </a:endParaRP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fld id="{0E08B96D-DCEB-4B6D-BD97-A1B03559D215}" type="slidenum">
              <a:rPr lang="en-US">
                <a:solidFill>
                  <a:srgbClr val="616365"/>
                </a:solidFill>
              </a:rPr>
              <a:pPr/>
              <a:t>‹#›</a:t>
            </a:fld>
            <a:endParaRPr lang="en-US" dirty="0">
              <a:solidFill>
                <a:srgbClr val="61636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590288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9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Box 17"/>
          <p:cNvSpPr txBox="1">
            <a:spLocks noChangeArrowheads="1"/>
          </p:cNvSpPr>
          <p:nvPr/>
        </p:nvSpPr>
        <p:spPr bwMode="auto">
          <a:xfrm>
            <a:off x="2779713" y="0"/>
            <a:ext cx="3582987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defTabSz="914400"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en-GB" sz="1000" b="1" i="1" dirty="0">
                <a:solidFill>
                  <a:srgbClr val="616365"/>
                </a:solidFill>
              </a:rPr>
              <a:t>Strictly Confidentia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/>
              <a:t>Fare clic per modificare lo stile del titolo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dirty="0" smtClean="0"/>
            </a:lvl1pPr>
          </a:lstStyle>
          <a:p>
            <a:endParaRPr lang="en-US" dirty="0">
              <a:solidFill>
                <a:srgbClr val="616365"/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fld id="{0E08B96D-DCEB-4B6D-BD97-A1B03559D215}" type="slidenum">
              <a:rPr lang="en-US">
                <a:solidFill>
                  <a:srgbClr val="616365"/>
                </a:solidFill>
              </a:rPr>
              <a:pPr/>
              <a:t>‹#›</a:t>
            </a:fld>
            <a:endParaRPr lang="en-US" dirty="0">
              <a:solidFill>
                <a:srgbClr val="61636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86771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stile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54C701-E45B-2345-9004-1657FEDD3455}" type="datetimeFigureOut">
              <a:rPr lang="it-IT" smtClean="0"/>
              <a:t>18/10/2016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4B4B36-5418-FA4E-9B63-F4E7B237B159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334418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1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3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/>
              <a:t>Fare clic per modificare lo stile del titolo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it-IT" noProof="0"/>
              <a:t>Fare clic sull'icona per inserire un'immagine</a:t>
            </a:r>
            <a:endParaRPr lang="en-GB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dirty="0" smtClean="0"/>
            </a:lvl1pPr>
          </a:lstStyle>
          <a:p>
            <a:endParaRPr lang="en-US" dirty="0">
              <a:solidFill>
                <a:srgbClr val="616365"/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fld id="{0E08B96D-DCEB-4B6D-BD97-A1B03559D215}" type="slidenum">
              <a:rPr lang="en-US">
                <a:solidFill>
                  <a:srgbClr val="616365"/>
                </a:solidFill>
              </a:rPr>
              <a:pPr/>
              <a:t>‹#›</a:t>
            </a:fld>
            <a:endParaRPr lang="en-US" dirty="0">
              <a:solidFill>
                <a:srgbClr val="61636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443590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7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magine 3" descr="logo_footer_def.jp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6203950"/>
            <a:ext cx="9140825" cy="506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Box 17"/>
          <p:cNvSpPr txBox="1">
            <a:spLocks noChangeArrowheads="1"/>
          </p:cNvSpPr>
          <p:nvPr/>
        </p:nvSpPr>
        <p:spPr bwMode="auto">
          <a:xfrm>
            <a:off x="2779713" y="0"/>
            <a:ext cx="3582987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defTabSz="914400"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en-GB" sz="1000" b="1" i="1" dirty="0">
                <a:solidFill>
                  <a:srgbClr val="616365"/>
                </a:solidFill>
              </a:rPr>
              <a:t>Strictly Confidentia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/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dirty="0" smtClean="0"/>
            </a:lvl1pPr>
          </a:lstStyle>
          <a:p>
            <a:endParaRPr lang="en-US" dirty="0">
              <a:solidFill>
                <a:srgbClr val="616365"/>
              </a:solidFill>
            </a:endParaRPr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fld id="{0E08B96D-DCEB-4B6D-BD97-A1B03559D215}" type="slidenum">
              <a:rPr lang="en-US">
                <a:solidFill>
                  <a:srgbClr val="616365"/>
                </a:solidFill>
              </a:rPr>
              <a:pPr/>
              <a:t>‹#›</a:t>
            </a:fld>
            <a:endParaRPr lang="en-US" dirty="0">
              <a:solidFill>
                <a:srgbClr val="61636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71667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1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magine 3" descr="logo_footer_def.jp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6203950"/>
            <a:ext cx="9140825" cy="506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Box 17"/>
          <p:cNvSpPr txBox="1">
            <a:spLocks noChangeArrowheads="1"/>
          </p:cNvSpPr>
          <p:nvPr/>
        </p:nvSpPr>
        <p:spPr bwMode="auto">
          <a:xfrm>
            <a:off x="2779713" y="0"/>
            <a:ext cx="3582987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defTabSz="914400"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en-GB" sz="1000" b="1" i="1" dirty="0">
                <a:solidFill>
                  <a:srgbClr val="616365"/>
                </a:solidFill>
              </a:rPr>
              <a:t>Strictly Confidential</a:t>
            </a:r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it-IT"/>
              <a:t>Fare clic per modificare lo stile del titolo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/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dirty="0" smtClean="0"/>
            </a:lvl1pPr>
          </a:lstStyle>
          <a:p>
            <a:endParaRPr lang="en-US" dirty="0">
              <a:solidFill>
                <a:srgbClr val="616365"/>
              </a:solidFill>
            </a:endParaRPr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fld id="{0E08B96D-DCEB-4B6D-BD97-A1B03559D215}" type="slidenum">
              <a:rPr lang="en-US">
                <a:solidFill>
                  <a:srgbClr val="616365"/>
                </a:solidFill>
              </a:rPr>
              <a:pPr/>
              <a:t>‹#›</a:t>
            </a:fld>
            <a:endParaRPr lang="en-US" dirty="0">
              <a:solidFill>
                <a:srgbClr val="61636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972983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457200" y="274638"/>
            <a:ext cx="8229600" cy="5851525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/>
          </a:p>
        </p:txBody>
      </p:sp>
      <p:sp>
        <p:nvSpPr>
          <p:cNvPr id="3" name="Rectangle 9"/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616365"/>
              </a:solidFill>
            </a:endParaRPr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E08B96D-DCEB-4B6D-BD97-A1B03559D215}" type="slidenum">
              <a:rPr lang="en-US" smtClean="0">
                <a:solidFill>
                  <a:srgbClr val="616365"/>
                </a:solidFill>
              </a:rPr>
              <a:pPr/>
              <a:t>‹#›</a:t>
            </a:fld>
            <a:endParaRPr lang="en-US" dirty="0">
              <a:solidFill>
                <a:srgbClr val="61636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699817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AndObj" preserve="1">
  <p:cSld name="Titolo, test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5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Immagine 3" descr="logo_footer_def.jp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6203950"/>
            <a:ext cx="9140825" cy="506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Box 17"/>
          <p:cNvSpPr txBox="1">
            <a:spLocks noChangeArrowheads="1"/>
          </p:cNvSpPr>
          <p:nvPr/>
        </p:nvSpPr>
        <p:spPr bwMode="auto">
          <a:xfrm>
            <a:off x="2779713" y="0"/>
            <a:ext cx="3582987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defTabSz="914400"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en-GB" sz="1000" b="1" i="1" dirty="0">
                <a:solidFill>
                  <a:srgbClr val="616365"/>
                </a:solidFill>
              </a:rPr>
              <a:t>Strictly Confidentia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it-IT"/>
              <a:t>Fare clic per modificare lo stile del titolo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dirty="0" smtClean="0"/>
            </a:lvl1pPr>
          </a:lstStyle>
          <a:p>
            <a:endParaRPr lang="en-US" dirty="0">
              <a:solidFill>
                <a:srgbClr val="616365"/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fld id="{0E08B96D-DCEB-4B6D-BD97-A1B03559D215}" type="slidenum">
              <a:rPr lang="en-US">
                <a:solidFill>
                  <a:srgbClr val="616365"/>
                </a:solidFill>
              </a:rPr>
              <a:pPr/>
              <a:t>‹#›</a:t>
            </a:fld>
            <a:endParaRPr lang="en-US" dirty="0">
              <a:solidFill>
                <a:srgbClr val="61636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888363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bl" preserve="1">
  <p:cSld name="Titolo e tab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1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9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magine 3" descr="logo_footer_def.jp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6203950"/>
            <a:ext cx="9140825" cy="506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Box 17"/>
          <p:cNvSpPr txBox="1">
            <a:spLocks noChangeArrowheads="1"/>
          </p:cNvSpPr>
          <p:nvPr/>
        </p:nvSpPr>
        <p:spPr bwMode="auto">
          <a:xfrm>
            <a:off x="2779713" y="0"/>
            <a:ext cx="3582987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defTabSz="914400"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en-GB" sz="1000" b="1" i="1" dirty="0">
                <a:solidFill>
                  <a:srgbClr val="616365"/>
                </a:solidFill>
              </a:rPr>
              <a:t>Strictly Confidentia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it-IT"/>
              <a:t>Fare clic per modificare lo stile del titolo</a:t>
            </a:r>
            <a:endParaRPr lang="en-GB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r>
              <a:rPr lang="it-IT" noProof="0"/>
              <a:t>Fare clic sull'icona per inserire una tabella</a:t>
            </a:r>
            <a:endParaRPr lang="en-GB" noProof="0" dirty="0"/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dirty="0" smtClean="0"/>
            </a:lvl1pPr>
          </a:lstStyle>
          <a:p>
            <a:endParaRPr lang="en-US" dirty="0">
              <a:solidFill>
                <a:srgbClr val="616365"/>
              </a:solidFill>
            </a:endParaRPr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fld id="{0E08B96D-DCEB-4B6D-BD97-A1B03559D215}" type="slidenum">
              <a:rPr lang="en-US">
                <a:solidFill>
                  <a:srgbClr val="616365"/>
                </a:solidFill>
              </a:rPr>
              <a:pPr/>
              <a:t>‹#›</a:t>
            </a:fld>
            <a:endParaRPr lang="en-US" dirty="0">
              <a:solidFill>
                <a:srgbClr val="61636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74497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http://www.barillacfn.com/wp-content/uploads/2015/01/bcfn_diete.png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003"/>
          <a:stretch/>
        </p:blipFill>
        <p:spPr bwMode="auto">
          <a:xfrm>
            <a:off x="-887099" y="-111969"/>
            <a:ext cx="11027284" cy="69699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2073751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piè di pagina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>
              <a:solidFill>
                <a:srgbClr val="616365"/>
              </a:solidFill>
            </a:endParaRP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E08B96D-DCEB-4B6D-BD97-A1B03559D215}" type="slidenum">
              <a:rPr lang="en-US">
                <a:solidFill>
                  <a:srgbClr val="616365"/>
                </a:solidFill>
              </a:rPr>
              <a:pPr/>
              <a:t>‹#›</a:t>
            </a:fld>
            <a:endParaRPr lang="en-US" dirty="0">
              <a:solidFill>
                <a:srgbClr val="61636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301903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it-IT"/>
              <a:t>Fare clic per modificare stile</a:t>
            </a:r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54C701-E45B-2345-9004-1657FEDD3455}" type="datetimeFigureOut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18/10/2016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4B4B36-5418-FA4E-9B63-F4E7B237B159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337388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stile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54C701-E45B-2345-9004-1657FEDD3455}" type="datetimeFigureOut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18/10/2016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4B4B36-5418-FA4E-9B63-F4E7B237B159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39588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it-IT"/>
              <a:t>Fare clic per modificare stile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54C701-E45B-2345-9004-1657FEDD3455}" type="datetimeFigureOut">
              <a:rPr lang="it-IT" smtClean="0"/>
              <a:t>18/10/2016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4B4B36-5418-FA4E-9B63-F4E7B237B159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6706196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it-IT"/>
              <a:t>Fare clic per modificare stile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54C701-E45B-2345-9004-1657FEDD3455}" type="datetimeFigureOut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18/10/2016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4B4B36-5418-FA4E-9B63-F4E7B237B159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904331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Contenu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stile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54C701-E45B-2345-9004-1657FEDD3455}" type="datetimeFigureOut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18/10/2016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4B4B36-5418-FA4E-9B63-F4E7B237B159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680959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it-IT"/>
              <a:t>Fare clic per modificare stile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Segnaposto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54C701-E45B-2345-9004-1657FEDD3455}" type="datetimeFigureOut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18/10/2016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Segnaposto piè di pa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egnaposto numero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4B4B36-5418-FA4E-9B63-F4E7B237B159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199187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stile</a:t>
            </a:r>
          </a:p>
        </p:txBody>
      </p:sp>
      <p:sp>
        <p:nvSpPr>
          <p:cNvPr id="3" name="Segnaposto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54C701-E45B-2345-9004-1657FEDD3455}" type="datetimeFigureOut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18/10/2016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4B4B36-5418-FA4E-9B63-F4E7B237B159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437944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54C701-E45B-2345-9004-1657FEDD3455}" type="datetimeFigureOut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18/10/2016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Segnaposto piè di pa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4B4B36-5418-FA4E-9B63-F4E7B237B159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693668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/>
              <a:t>Fare clic per modificare stile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54C701-E45B-2345-9004-1657FEDD3455}" type="datetimeFigureOut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18/10/2016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4B4B36-5418-FA4E-9B63-F4E7B237B159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555250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/>
              <a:t>Fare clic per modificare stile</a:t>
            </a:r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54C701-E45B-2345-9004-1657FEDD3455}" type="datetimeFigureOut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18/10/2016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4B4B36-5418-FA4E-9B63-F4E7B237B159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446197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stile</a:t>
            </a:r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54C701-E45B-2345-9004-1657FEDD3455}" type="datetimeFigureOut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18/10/2016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4B4B36-5418-FA4E-9B63-F4E7B237B159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865362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olo verticale e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it-IT"/>
              <a:t>Fare clic per modificare stile</a:t>
            </a:r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54C701-E45B-2345-9004-1657FEDD3455}" type="datetimeFigureOut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18/10/2016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4B4B36-5418-FA4E-9B63-F4E7B237B159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156487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/>
          <a:lstStyle/>
          <a:p>
            <a:r>
              <a:rPr lang="it-IT"/>
              <a:t>Fare clic per modificare stile</a:t>
            </a:r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53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07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61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14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76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22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875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429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54C701-E45B-2345-9004-1657FEDD3455}" type="datetimeFigureOut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18/10/2016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4B4B36-5418-FA4E-9B63-F4E7B237B159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2146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Contenu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stile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54C701-E45B-2345-9004-1657FEDD3455}" type="datetimeFigureOut">
              <a:rPr lang="it-IT" smtClean="0"/>
              <a:t>18/10/2016</a:t>
            </a:fld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4B4B36-5418-FA4E-9B63-F4E7B237B159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81781798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stile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54C701-E45B-2345-9004-1657FEDD3455}" type="datetimeFigureOut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18/10/2016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4B4B36-5418-FA4E-9B63-F4E7B237B159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522765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defRPr sz="3984" b="1" cap="all"/>
            </a:lvl1pPr>
          </a:lstStyle>
          <a:p>
            <a:r>
              <a:rPr lang="it-IT"/>
              <a:t>Fare clic per modificare stile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1992">
                <a:solidFill>
                  <a:schemeClr val="tx1">
                    <a:tint val="75000"/>
                  </a:schemeClr>
                </a:solidFill>
              </a:defRPr>
            </a:lvl1pPr>
            <a:lvl2pPr marL="455371" indent="0">
              <a:buNone/>
              <a:defRPr sz="1793">
                <a:solidFill>
                  <a:schemeClr val="tx1">
                    <a:tint val="75000"/>
                  </a:schemeClr>
                </a:solidFill>
              </a:defRPr>
            </a:lvl2pPr>
            <a:lvl3pPr marL="910742" indent="0">
              <a:buNone/>
              <a:defRPr sz="1594">
                <a:solidFill>
                  <a:schemeClr val="tx1">
                    <a:tint val="75000"/>
                  </a:schemeClr>
                </a:solidFill>
              </a:defRPr>
            </a:lvl3pPr>
            <a:lvl4pPr marL="1366114" indent="0">
              <a:buNone/>
              <a:defRPr sz="1394">
                <a:solidFill>
                  <a:schemeClr val="tx1">
                    <a:tint val="75000"/>
                  </a:schemeClr>
                </a:solidFill>
              </a:defRPr>
            </a:lvl4pPr>
            <a:lvl5pPr marL="1821485" indent="0">
              <a:buNone/>
              <a:defRPr sz="1394">
                <a:solidFill>
                  <a:schemeClr val="tx1">
                    <a:tint val="75000"/>
                  </a:schemeClr>
                </a:solidFill>
              </a:defRPr>
            </a:lvl5pPr>
            <a:lvl6pPr marL="2276856" indent="0">
              <a:buNone/>
              <a:defRPr sz="1394">
                <a:solidFill>
                  <a:schemeClr val="tx1">
                    <a:tint val="75000"/>
                  </a:schemeClr>
                </a:solidFill>
              </a:defRPr>
            </a:lvl6pPr>
            <a:lvl7pPr marL="2732227" indent="0">
              <a:buNone/>
              <a:defRPr sz="1394">
                <a:solidFill>
                  <a:schemeClr val="tx1">
                    <a:tint val="75000"/>
                  </a:schemeClr>
                </a:solidFill>
              </a:defRPr>
            </a:lvl7pPr>
            <a:lvl8pPr marL="3187598" indent="0">
              <a:buNone/>
              <a:defRPr sz="1394">
                <a:solidFill>
                  <a:schemeClr val="tx1">
                    <a:tint val="75000"/>
                  </a:schemeClr>
                </a:solidFill>
              </a:defRPr>
            </a:lvl8pPr>
            <a:lvl9pPr marL="3642970" indent="0">
              <a:buNone/>
              <a:defRPr sz="139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54C701-E45B-2345-9004-1657FEDD3455}" type="datetimeFigureOut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18/10/2016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4B4B36-5418-FA4E-9B63-F4E7B237B159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613276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Contenu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stile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457200" y="1600202"/>
            <a:ext cx="4038600" cy="4525963"/>
          </a:xfrm>
        </p:spPr>
        <p:txBody>
          <a:bodyPr/>
          <a:lstStyle>
            <a:lvl1pPr>
              <a:defRPr sz="2789"/>
            </a:lvl1pPr>
            <a:lvl2pPr>
              <a:defRPr sz="2390"/>
            </a:lvl2pPr>
            <a:lvl3pPr>
              <a:defRPr sz="1992"/>
            </a:lvl3pPr>
            <a:lvl4pPr>
              <a:defRPr sz="1793"/>
            </a:lvl4pPr>
            <a:lvl5pPr>
              <a:defRPr sz="1793"/>
            </a:lvl5pPr>
            <a:lvl6pPr>
              <a:defRPr sz="1793"/>
            </a:lvl6pPr>
            <a:lvl7pPr>
              <a:defRPr sz="1793"/>
            </a:lvl7pPr>
            <a:lvl8pPr>
              <a:defRPr sz="1793"/>
            </a:lvl8pPr>
            <a:lvl9pPr>
              <a:defRPr sz="1793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648201" y="1600202"/>
            <a:ext cx="4038600" cy="4525963"/>
          </a:xfrm>
        </p:spPr>
        <p:txBody>
          <a:bodyPr/>
          <a:lstStyle>
            <a:lvl1pPr>
              <a:defRPr sz="2789"/>
            </a:lvl1pPr>
            <a:lvl2pPr>
              <a:defRPr sz="2390"/>
            </a:lvl2pPr>
            <a:lvl3pPr>
              <a:defRPr sz="1992"/>
            </a:lvl3pPr>
            <a:lvl4pPr>
              <a:defRPr sz="1793"/>
            </a:lvl4pPr>
            <a:lvl5pPr>
              <a:defRPr sz="1793"/>
            </a:lvl5pPr>
            <a:lvl6pPr>
              <a:defRPr sz="1793"/>
            </a:lvl6pPr>
            <a:lvl7pPr>
              <a:defRPr sz="1793"/>
            </a:lvl7pPr>
            <a:lvl8pPr>
              <a:defRPr sz="1793"/>
            </a:lvl8pPr>
            <a:lvl9pPr>
              <a:defRPr sz="1793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54C701-E45B-2345-9004-1657FEDD3455}" type="datetimeFigureOut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18/10/2016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4B4B36-5418-FA4E-9B63-F4E7B237B159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194900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it-IT"/>
              <a:t>Fare clic per modificare stile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1" y="1535113"/>
            <a:ext cx="4040188" cy="639762"/>
          </a:xfrm>
        </p:spPr>
        <p:txBody>
          <a:bodyPr anchor="b"/>
          <a:lstStyle>
            <a:lvl1pPr marL="0" indent="0">
              <a:buNone/>
              <a:defRPr sz="2390" b="1"/>
            </a:lvl1pPr>
            <a:lvl2pPr marL="455371" indent="0">
              <a:buNone/>
              <a:defRPr sz="1992" b="1"/>
            </a:lvl2pPr>
            <a:lvl3pPr marL="910742" indent="0">
              <a:buNone/>
              <a:defRPr sz="1793" b="1"/>
            </a:lvl3pPr>
            <a:lvl4pPr marL="1366114" indent="0">
              <a:buNone/>
              <a:defRPr sz="1594" b="1"/>
            </a:lvl4pPr>
            <a:lvl5pPr marL="1821485" indent="0">
              <a:buNone/>
              <a:defRPr sz="1594" b="1"/>
            </a:lvl5pPr>
            <a:lvl6pPr marL="2276856" indent="0">
              <a:buNone/>
              <a:defRPr sz="1594" b="1"/>
            </a:lvl6pPr>
            <a:lvl7pPr marL="2732227" indent="0">
              <a:buNone/>
              <a:defRPr sz="1594" b="1"/>
            </a:lvl7pPr>
            <a:lvl8pPr marL="3187598" indent="0">
              <a:buNone/>
              <a:defRPr sz="1594" b="1"/>
            </a:lvl8pPr>
            <a:lvl9pPr marL="3642970" indent="0">
              <a:buNone/>
              <a:defRPr sz="1594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57201" y="2174875"/>
            <a:ext cx="4040188" cy="3951288"/>
          </a:xfrm>
        </p:spPr>
        <p:txBody>
          <a:bodyPr/>
          <a:lstStyle>
            <a:lvl1pPr>
              <a:defRPr sz="2390"/>
            </a:lvl1pPr>
            <a:lvl2pPr>
              <a:defRPr sz="1992"/>
            </a:lvl2pPr>
            <a:lvl3pPr>
              <a:defRPr sz="1793"/>
            </a:lvl3pPr>
            <a:lvl4pPr>
              <a:defRPr sz="1594"/>
            </a:lvl4pPr>
            <a:lvl5pPr>
              <a:defRPr sz="1594"/>
            </a:lvl5pPr>
            <a:lvl6pPr>
              <a:defRPr sz="1594"/>
            </a:lvl6pPr>
            <a:lvl7pPr>
              <a:defRPr sz="1594"/>
            </a:lvl7pPr>
            <a:lvl8pPr>
              <a:defRPr sz="1594"/>
            </a:lvl8pPr>
            <a:lvl9pPr>
              <a:defRPr sz="1594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390" b="1"/>
            </a:lvl1pPr>
            <a:lvl2pPr marL="455371" indent="0">
              <a:buNone/>
              <a:defRPr sz="1992" b="1"/>
            </a:lvl2pPr>
            <a:lvl3pPr marL="910742" indent="0">
              <a:buNone/>
              <a:defRPr sz="1793" b="1"/>
            </a:lvl3pPr>
            <a:lvl4pPr marL="1366114" indent="0">
              <a:buNone/>
              <a:defRPr sz="1594" b="1"/>
            </a:lvl4pPr>
            <a:lvl5pPr marL="1821485" indent="0">
              <a:buNone/>
              <a:defRPr sz="1594" b="1"/>
            </a:lvl5pPr>
            <a:lvl6pPr marL="2276856" indent="0">
              <a:buNone/>
              <a:defRPr sz="1594" b="1"/>
            </a:lvl6pPr>
            <a:lvl7pPr marL="2732227" indent="0">
              <a:buNone/>
              <a:defRPr sz="1594" b="1"/>
            </a:lvl7pPr>
            <a:lvl8pPr marL="3187598" indent="0">
              <a:buNone/>
              <a:defRPr sz="1594" b="1"/>
            </a:lvl8pPr>
            <a:lvl9pPr marL="3642970" indent="0">
              <a:buNone/>
              <a:defRPr sz="1594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390"/>
            </a:lvl1pPr>
            <a:lvl2pPr>
              <a:defRPr sz="1992"/>
            </a:lvl2pPr>
            <a:lvl3pPr>
              <a:defRPr sz="1793"/>
            </a:lvl3pPr>
            <a:lvl4pPr>
              <a:defRPr sz="1594"/>
            </a:lvl4pPr>
            <a:lvl5pPr>
              <a:defRPr sz="1594"/>
            </a:lvl5pPr>
            <a:lvl6pPr>
              <a:defRPr sz="1594"/>
            </a:lvl6pPr>
            <a:lvl7pPr>
              <a:defRPr sz="1594"/>
            </a:lvl7pPr>
            <a:lvl8pPr>
              <a:defRPr sz="1594"/>
            </a:lvl8pPr>
            <a:lvl9pPr>
              <a:defRPr sz="1594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Segnaposto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54C701-E45B-2345-9004-1657FEDD3455}" type="datetimeFigureOut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18/10/2016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Segnaposto piè di pa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egnaposto numero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4B4B36-5418-FA4E-9B63-F4E7B237B159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00584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stile</a:t>
            </a:r>
          </a:p>
        </p:txBody>
      </p:sp>
      <p:sp>
        <p:nvSpPr>
          <p:cNvPr id="3" name="Segnaposto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54C701-E45B-2345-9004-1657FEDD3455}" type="datetimeFigureOut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18/10/2016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4B4B36-5418-FA4E-9B63-F4E7B237B159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198943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54C701-E45B-2345-9004-1657FEDD3455}" type="datetimeFigureOut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18/10/2016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Segnaposto piè di pa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4B4B36-5418-FA4E-9B63-F4E7B237B159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212545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1992" b="1"/>
            </a:lvl1pPr>
          </a:lstStyle>
          <a:p>
            <a:r>
              <a:rPr lang="it-IT"/>
              <a:t>Fare clic per modificare stile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187"/>
            </a:lvl1pPr>
            <a:lvl2pPr>
              <a:defRPr sz="2789"/>
            </a:lvl2pPr>
            <a:lvl3pPr>
              <a:defRPr sz="2390"/>
            </a:lvl3pPr>
            <a:lvl4pPr>
              <a:defRPr sz="1992"/>
            </a:lvl4pPr>
            <a:lvl5pPr>
              <a:defRPr sz="1992"/>
            </a:lvl5pPr>
            <a:lvl6pPr>
              <a:defRPr sz="1992"/>
            </a:lvl6pPr>
            <a:lvl7pPr>
              <a:defRPr sz="1992"/>
            </a:lvl7pPr>
            <a:lvl8pPr>
              <a:defRPr sz="1992"/>
            </a:lvl8pPr>
            <a:lvl9pPr>
              <a:defRPr sz="1992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457201" y="1435102"/>
            <a:ext cx="3008313" cy="4691063"/>
          </a:xfrm>
        </p:spPr>
        <p:txBody>
          <a:bodyPr/>
          <a:lstStyle>
            <a:lvl1pPr marL="0" indent="0">
              <a:buNone/>
              <a:defRPr sz="1394"/>
            </a:lvl1pPr>
            <a:lvl2pPr marL="455371" indent="0">
              <a:buNone/>
              <a:defRPr sz="1195"/>
            </a:lvl2pPr>
            <a:lvl3pPr marL="910742" indent="0">
              <a:buNone/>
              <a:defRPr sz="996"/>
            </a:lvl3pPr>
            <a:lvl4pPr marL="1366114" indent="0">
              <a:buNone/>
              <a:defRPr sz="896"/>
            </a:lvl4pPr>
            <a:lvl5pPr marL="1821485" indent="0">
              <a:buNone/>
              <a:defRPr sz="896"/>
            </a:lvl5pPr>
            <a:lvl6pPr marL="2276856" indent="0">
              <a:buNone/>
              <a:defRPr sz="896"/>
            </a:lvl6pPr>
            <a:lvl7pPr marL="2732227" indent="0">
              <a:buNone/>
              <a:defRPr sz="896"/>
            </a:lvl7pPr>
            <a:lvl8pPr marL="3187598" indent="0">
              <a:buNone/>
              <a:defRPr sz="896"/>
            </a:lvl8pPr>
            <a:lvl9pPr marL="3642970" indent="0">
              <a:buNone/>
              <a:defRPr sz="896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54C701-E45B-2345-9004-1657FEDD3455}" type="datetimeFigureOut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18/10/2016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4B4B36-5418-FA4E-9B63-F4E7B237B159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769182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1992" b="1"/>
            </a:lvl1pPr>
          </a:lstStyle>
          <a:p>
            <a:r>
              <a:rPr lang="it-IT"/>
              <a:t>Fare clic per modificare stile</a:t>
            </a:r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187"/>
            </a:lvl1pPr>
            <a:lvl2pPr marL="455371" indent="0">
              <a:buNone/>
              <a:defRPr sz="2789"/>
            </a:lvl2pPr>
            <a:lvl3pPr marL="910742" indent="0">
              <a:buNone/>
              <a:defRPr sz="2390"/>
            </a:lvl3pPr>
            <a:lvl4pPr marL="1366114" indent="0">
              <a:buNone/>
              <a:defRPr sz="1992"/>
            </a:lvl4pPr>
            <a:lvl5pPr marL="1821485" indent="0">
              <a:buNone/>
              <a:defRPr sz="1992"/>
            </a:lvl5pPr>
            <a:lvl6pPr marL="2276856" indent="0">
              <a:buNone/>
              <a:defRPr sz="1992"/>
            </a:lvl6pPr>
            <a:lvl7pPr marL="2732227" indent="0">
              <a:buNone/>
              <a:defRPr sz="1992"/>
            </a:lvl7pPr>
            <a:lvl8pPr marL="3187598" indent="0">
              <a:buNone/>
              <a:defRPr sz="1992"/>
            </a:lvl8pPr>
            <a:lvl9pPr marL="3642970" indent="0">
              <a:buNone/>
              <a:defRPr sz="1992"/>
            </a:lvl9pPr>
          </a:lstStyle>
          <a:p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394"/>
            </a:lvl1pPr>
            <a:lvl2pPr marL="455371" indent="0">
              <a:buNone/>
              <a:defRPr sz="1195"/>
            </a:lvl2pPr>
            <a:lvl3pPr marL="910742" indent="0">
              <a:buNone/>
              <a:defRPr sz="996"/>
            </a:lvl3pPr>
            <a:lvl4pPr marL="1366114" indent="0">
              <a:buNone/>
              <a:defRPr sz="896"/>
            </a:lvl4pPr>
            <a:lvl5pPr marL="1821485" indent="0">
              <a:buNone/>
              <a:defRPr sz="896"/>
            </a:lvl5pPr>
            <a:lvl6pPr marL="2276856" indent="0">
              <a:buNone/>
              <a:defRPr sz="896"/>
            </a:lvl6pPr>
            <a:lvl7pPr marL="2732227" indent="0">
              <a:buNone/>
              <a:defRPr sz="896"/>
            </a:lvl7pPr>
            <a:lvl8pPr marL="3187598" indent="0">
              <a:buNone/>
              <a:defRPr sz="896"/>
            </a:lvl8pPr>
            <a:lvl9pPr marL="3642970" indent="0">
              <a:buNone/>
              <a:defRPr sz="896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54C701-E45B-2345-9004-1657FEDD3455}" type="datetimeFigureOut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18/10/2016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4B4B36-5418-FA4E-9B63-F4E7B237B159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216071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stile</a:t>
            </a:r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54C701-E45B-2345-9004-1657FEDD3455}" type="datetimeFigureOut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18/10/2016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4B4B36-5418-FA4E-9B63-F4E7B237B159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614028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olo verticale e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</p:spPr>
        <p:txBody>
          <a:bodyPr vert="eaVert"/>
          <a:lstStyle/>
          <a:p>
            <a:r>
              <a:rPr lang="it-IT"/>
              <a:t>Fare clic per modificare stile</a:t>
            </a:r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457200" y="274640"/>
            <a:ext cx="6019800" cy="5851525"/>
          </a:xfrm>
        </p:spPr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54C701-E45B-2345-9004-1657FEDD3455}" type="datetimeFigureOut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18/10/2016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4B4B36-5418-FA4E-9B63-F4E7B237B159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85916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it-IT"/>
              <a:t>Fare clic per modificare stile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Segnaposto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54C701-E45B-2345-9004-1657FEDD3455}" type="datetimeFigureOut">
              <a:rPr lang="it-IT" smtClean="0"/>
              <a:t>18/10/2016</a:t>
            </a:fld>
            <a:endParaRPr lang="it-IT"/>
          </a:p>
        </p:txBody>
      </p:sp>
      <p:sp>
        <p:nvSpPr>
          <p:cNvPr id="8" name="Segnaposto piè di pa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9" name="Segnaposto numero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4B4B36-5418-FA4E-9B63-F4E7B237B159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19179159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stile</a:t>
            </a:r>
          </a:p>
        </p:txBody>
      </p:sp>
      <p:sp>
        <p:nvSpPr>
          <p:cNvPr id="3" name="Segnaposto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54C701-E45B-2345-9004-1657FEDD3455}" type="datetimeFigureOut">
              <a:rPr lang="it-IT" smtClean="0"/>
              <a:t>18/10/2016</a:t>
            </a:fld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4B4B36-5418-FA4E-9B63-F4E7B237B159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657406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54C701-E45B-2345-9004-1657FEDD3455}" type="datetimeFigureOut">
              <a:rPr lang="it-IT" smtClean="0"/>
              <a:t>18/10/2016</a:t>
            </a:fld>
            <a:endParaRPr lang="it-IT"/>
          </a:p>
        </p:txBody>
      </p:sp>
      <p:sp>
        <p:nvSpPr>
          <p:cNvPr id="3" name="Segnaposto piè di pa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4B4B36-5418-FA4E-9B63-F4E7B237B159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1999500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/>
              <a:t>Fare clic per modificare stile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54C701-E45B-2345-9004-1657FEDD3455}" type="datetimeFigureOut">
              <a:rPr lang="it-IT" smtClean="0"/>
              <a:t>18/10/2016</a:t>
            </a:fld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4B4B36-5418-FA4E-9B63-F4E7B237B159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6602674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/>
              <a:t>Fare clic per modificare stile</a:t>
            </a:r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54C701-E45B-2345-9004-1657FEDD3455}" type="datetimeFigureOut">
              <a:rPr lang="it-IT" smtClean="0"/>
              <a:t>18/10/2016</a:t>
            </a:fld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4B4B36-5418-FA4E-9B63-F4E7B237B159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7238962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14.xml"/><Relationship Id="rId21" Type="http://schemas.openxmlformats.org/officeDocument/2006/relationships/image" Target="../media/image1.jpeg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21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0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/>
              <a:t>Fare clic per modificare stile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954C701-E45B-2345-9004-1657FEDD3455}" type="datetimeFigureOut">
              <a:rPr lang="it-IT" smtClean="0"/>
              <a:t>18/10/2016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94B4B36-5418-FA4E-9B63-F4E7B237B159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1864686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11" hidden="1"/>
          <p:cNvGraphicFramePr>
            <a:graphicFrameLocks/>
          </p:cNvGraphicFramePr>
          <p:nvPr>
            <p:custDataLst>
              <p:tags r:id="rId19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7" name="think-cell Slide" r:id="rId20" imgW="0" imgH="0" progId="TCLayout.ActiveDocument.1">
                  <p:embed/>
                </p:oleObj>
              </mc:Choice>
              <mc:Fallback>
                <p:oleObj name="think-cell Slide" r:id="rId20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7" name="Immagine 3" descr="logo_footer_def.jpg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6203950"/>
            <a:ext cx="9140825" cy="506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5620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/>
              <a:t>Fare clic per modificare lo stile del titolo</a:t>
            </a:r>
          </a:p>
        </p:txBody>
      </p:sp>
      <p:sp>
        <p:nvSpPr>
          <p:cNvPr id="1033" name="Rectangle 9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384925"/>
            <a:ext cx="2895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1" compatLnSpc="1">
            <a:prstTxWarp prst="textNoShape">
              <a:avLst/>
            </a:prstTxWarp>
          </a:bodyPr>
          <a:lstStyle>
            <a:lvl1pPr algn="ctr">
              <a:defRPr sz="1000" dirty="0" smtClean="0">
                <a:latin typeface="Arial" pitchFamily="34" charset="0"/>
                <a:cs typeface="+mn-cs"/>
              </a:defRPr>
            </a:lvl1pPr>
          </a:lstStyle>
          <a:p>
            <a:pPr defTabSz="914400"/>
            <a:endParaRPr lang="en-US" dirty="0">
              <a:solidFill>
                <a:srgbClr val="616365"/>
              </a:solidFill>
            </a:endParaRPr>
          </a:p>
        </p:txBody>
      </p:sp>
      <p:sp>
        <p:nvSpPr>
          <p:cNvPr id="1037" name="Rectangle 1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26488" y="6384925"/>
            <a:ext cx="392112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1" compatLnSpc="1">
            <a:prstTxWarp prst="textNoShape">
              <a:avLst/>
            </a:prstTxWarp>
          </a:bodyPr>
          <a:lstStyle>
            <a:lvl1pPr algn="r">
              <a:defRPr sz="1000" smtClean="0">
                <a:latin typeface="Arial" pitchFamily="34" charset="0"/>
                <a:cs typeface="+mn-cs"/>
              </a:defRPr>
            </a:lvl1pPr>
          </a:lstStyle>
          <a:p>
            <a:pPr defTabSz="914400"/>
            <a:fld id="{0E08B96D-DCEB-4B6D-BD97-A1B03559D215}" type="slidenum">
              <a:rPr lang="en-US">
                <a:solidFill>
                  <a:srgbClr val="616365"/>
                </a:solidFill>
              </a:rPr>
              <a:pPr defTabSz="914400"/>
              <a:t>‹#›</a:t>
            </a:fld>
            <a:endParaRPr lang="en-US" dirty="0">
              <a:solidFill>
                <a:srgbClr val="616365"/>
              </a:solidFill>
            </a:endParaRPr>
          </a:p>
        </p:txBody>
      </p:sp>
      <p:sp>
        <p:nvSpPr>
          <p:cNvPr id="1031" name="Rectangle 15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1"/>
            <a:r>
              <a:rPr lang="en-GB"/>
              <a:t>Firs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0744089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pitchFamily="34" charset="0"/>
        </a:defRPr>
      </a:lvl9pPr>
    </p:titleStyle>
    <p:bodyStyle>
      <a:lvl1pPr marL="342900" indent="-342900" algn="l" rtl="0" eaLnBrk="1" fontAlgn="base" hangingPunct="1">
        <a:spcBef>
          <a:spcPct val="50000"/>
        </a:spcBef>
        <a:spcAft>
          <a:spcPct val="0"/>
        </a:spcAft>
        <a:buSzPct val="65000"/>
        <a:buFont typeface="Wingdings" pitchFamily="2" charset="2"/>
        <a:buChar char="l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228600" indent="-152400" algn="l" rtl="0" eaLnBrk="1" fontAlgn="base" hangingPunct="1">
        <a:spcBef>
          <a:spcPct val="50000"/>
        </a:spcBef>
        <a:spcAft>
          <a:spcPct val="0"/>
        </a:spcAft>
        <a:buSzPct val="65000"/>
        <a:buFont typeface="Wingdings" pitchFamily="2" charset="2"/>
        <a:buChar char="l"/>
        <a:defRPr sz="1600">
          <a:solidFill>
            <a:schemeClr val="tx1"/>
          </a:solidFill>
          <a:latin typeface="+mn-lt"/>
          <a:cs typeface="+mn-cs"/>
        </a:defRPr>
      </a:lvl2pPr>
      <a:lvl3pPr marL="457200" indent="-152400" algn="l" rtl="0" eaLnBrk="1" fontAlgn="base" hangingPunct="1">
        <a:spcBef>
          <a:spcPct val="5000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  <a:cs typeface="+mn-cs"/>
        </a:defRPr>
      </a:lvl3pPr>
      <a:lvl4pPr marL="685800" indent="-152400" algn="l" rtl="0" eaLnBrk="1" fontAlgn="base" hangingPunct="1">
        <a:spcBef>
          <a:spcPct val="5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  <a:cs typeface="+mn-cs"/>
        </a:defRPr>
      </a:lvl4pPr>
      <a:lvl5pPr marL="914400" indent="-152400" algn="l" rtl="0" eaLnBrk="1" fontAlgn="base" hangingPunct="1">
        <a:spcBef>
          <a:spcPct val="5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  <a:cs typeface="+mn-cs"/>
        </a:defRPr>
      </a:lvl5pPr>
      <a:lvl6pPr marL="1371600" indent="-152400" algn="l" rtl="0" eaLnBrk="1" fontAlgn="base" hangingPunct="1">
        <a:spcBef>
          <a:spcPct val="5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  <a:cs typeface="+mn-cs"/>
        </a:defRPr>
      </a:lvl6pPr>
      <a:lvl7pPr marL="1828800" indent="-152400" algn="l" rtl="0" eaLnBrk="1" fontAlgn="base" hangingPunct="1">
        <a:spcBef>
          <a:spcPct val="5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  <a:cs typeface="+mn-cs"/>
        </a:defRPr>
      </a:lvl7pPr>
      <a:lvl8pPr marL="2286000" indent="-152400" algn="l" rtl="0" eaLnBrk="1" fontAlgn="base" hangingPunct="1">
        <a:spcBef>
          <a:spcPct val="5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  <a:cs typeface="+mn-cs"/>
        </a:defRPr>
      </a:lvl8pPr>
      <a:lvl9pPr marL="2743200" indent="-152400" algn="l" rtl="0" eaLnBrk="1" fontAlgn="base" hangingPunct="1">
        <a:spcBef>
          <a:spcPct val="5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/>
              <a:t>Fare clic per modificare stile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954C701-E45B-2345-9004-1657FEDD3455}" type="datetimeFigureOut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18/10/2016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94B4B36-5418-FA4E-9B63-F4E7B237B159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14217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/>
              <a:t>Fare clic per modificare stile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2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954C701-E45B-2345-9004-1657FEDD3455}" type="datetimeFigureOut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18/10/2016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3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9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9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94B4B36-5418-FA4E-9B63-F4E7B237B159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29045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  <p:sldLayoutId id="2147483698" r:id="rId9"/>
    <p:sldLayoutId id="2147483699" r:id="rId10"/>
    <p:sldLayoutId id="2147483700" r:id="rId11"/>
  </p:sldLayoutIdLst>
  <p:txStyles>
    <p:titleStyle>
      <a:lvl1pPr algn="ctr" defTabSz="455371" rtl="0" eaLnBrk="1" latinLnBrk="0" hangingPunct="1">
        <a:spcBef>
          <a:spcPct val="0"/>
        </a:spcBef>
        <a:buNone/>
        <a:defRPr sz="4382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1528" indent="-341528" algn="l" defTabSz="455371" rtl="0" eaLnBrk="1" latinLnBrk="0" hangingPunct="1">
        <a:spcBef>
          <a:spcPct val="20000"/>
        </a:spcBef>
        <a:buFont typeface="Arial"/>
        <a:buChar char="•"/>
        <a:defRPr sz="3187" kern="1200">
          <a:solidFill>
            <a:schemeClr val="tx1"/>
          </a:solidFill>
          <a:latin typeface="+mn-lt"/>
          <a:ea typeface="+mn-ea"/>
          <a:cs typeface="+mn-cs"/>
        </a:defRPr>
      </a:lvl1pPr>
      <a:lvl2pPr marL="739978" indent="-284607" algn="l" defTabSz="455371" rtl="0" eaLnBrk="1" latinLnBrk="0" hangingPunct="1">
        <a:spcBef>
          <a:spcPct val="20000"/>
        </a:spcBef>
        <a:buFont typeface="Arial"/>
        <a:buChar char="–"/>
        <a:defRPr sz="2789" kern="1200">
          <a:solidFill>
            <a:schemeClr val="tx1"/>
          </a:solidFill>
          <a:latin typeface="+mn-lt"/>
          <a:ea typeface="+mn-ea"/>
          <a:cs typeface="+mn-cs"/>
        </a:defRPr>
      </a:lvl2pPr>
      <a:lvl3pPr marL="1138428" indent="-227686" algn="l" defTabSz="455371" rtl="0" eaLnBrk="1" latinLnBrk="0" hangingPunct="1">
        <a:spcBef>
          <a:spcPct val="20000"/>
        </a:spcBef>
        <a:buFont typeface="Arial"/>
        <a:buChar char="•"/>
        <a:defRPr sz="2390" kern="1200">
          <a:solidFill>
            <a:schemeClr val="tx1"/>
          </a:solidFill>
          <a:latin typeface="+mn-lt"/>
          <a:ea typeface="+mn-ea"/>
          <a:cs typeface="+mn-cs"/>
        </a:defRPr>
      </a:lvl3pPr>
      <a:lvl4pPr marL="1593799" indent="-227686" algn="l" defTabSz="455371" rtl="0" eaLnBrk="1" latinLnBrk="0" hangingPunct="1">
        <a:spcBef>
          <a:spcPct val="20000"/>
        </a:spcBef>
        <a:buFont typeface="Arial"/>
        <a:buChar char="–"/>
        <a:defRPr sz="1992" kern="1200">
          <a:solidFill>
            <a:schemeClr val="tx1"/>
          </a:solidFill>
          <a:latin typeface="+mn-lt"/>
          <a:ea typeface="+mn-ea"/>
          <a:cs typeface="+mn-cs"/>
        </a:defRPr>
      </a:lvl4pPr>
      <a:lvl5pPr marL="2049170" indent="-227686" algn="l" defTabSz="455371" rtl="0" eaLnBrk="1" latinLnBrk="0" hangingPunct="1">
        <a:spcBef>
          <a:spcPct val="20000"/>
        </a:spcBef>
        <a:buFont typeface="Arial"/>
        <a:buChar char="»"/>
        <a:defRPr sz="1992" kern="1200">
          <a:solidFill>
            <a:schemeClr val="tx1"/>
          </a:solidFill>
          <a:latin typeface="+mn-lt"/>
          <a:ea typeface="+mn-ea"/>
          <a:cs typeface="+mn-cs"/>
        </a:defRPr>
      </a:lvl5pPr>
      <a:lvl6pPr marL="2504542" indent="-227686" algn="l" defTabSz="455371" rtl="0" eaLnBrk="1" latinLnBrk="0" hangingPunct="1">
        <a:spcBef>
          <a:spcPct val="20000"/>
        </a:spcBef>
        <a:buFont typeface="Arial"/>
        <a:buChar char="•"/>
        <a:defRPr sz="1992" kern="1200">
          <a:solidFill>
            <a:schemeClr val="tx1"/>
          </a:solidFill>
          <a:latin typeface="+mn-lt"/>
          <a:ea typeface="+mn-ea"/>
          <a:cs typeface="+mn-cs"/>
        </a:defRPr>
      </a:lvl6pPr>
      <a:lvl7pPr marL="2959913" indent="-227686" algn="l" defTabSz="455371" rtl="0" eaLnBrk="1" latinLnBrk="0" hangingPunct="1">
        <a:spcBef>
          <a:spcPct val="20000"/>
        </a:spcBef>
        <a:buFont typeface="Arial"/>
        <a:buChar char="•"/>
        <a:defRPr sz="1992" kern="1200">
          <a:solidFill>
            <a:schemeClr val="tx1"/>
          </a:solidFill>
          <a:latin typeface="+mn-lt"/>
          <a:ea typeface="+mn-ea"/>
          <a:cs typeface="+mn-cs"/>
        </a:defRPr>
      </a:lvl7pPr>
      <a:lvl8pPr marL="3415284" indent="-227686" algn="l" defTabSz="455371" rtl="0" eaLnBrk="1" latinLnBrk="0" hangingPunct="1">
        <a:spcBef>
          <a:spcPct val="20000"/>
        </a:spcBef>
        <a:buFont typeface="Arial"/>
        <a:buChar char="•"/>
        <a:defRPr sz="1992" kern="1200">
          <a:solidFill>
            <a:schemeClr val="tx1"/>
          </a:solidFill>
          <a:latin typeface="+mn-lt"/>
          <a:ea typeface="+mn-ea"/>
          <a:cs typeface="+mn-cs"/>
        </a:defRPr>
      </a:lvl8pPr>
      <a:lvl9pPr marL="3870655" indent="-227686" algn="l" defTabSz="455371" rtl="0" eaLnBrk="1" latinLnBrk="0" hangingPunct="1">
        <a:spcBef>
          <a:spcPct val="20000"/>
        </a:spcBef>
        <a:buFont typeface="Arial"/>
        <a:buChar char="•"/>
        <a:defRPr sz="199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455371" rtl="0" eaLnBrk="1" latinLnBrk="0" hangingPunct="1">
        <a:defRPr sz="1793" kern="1200">
          <a:solidFill>
            <a:schemeClr val="tx1"/>
          </a:solidFill>
          <a:latin typeface="+mn-lt"/>
          <a:ea typeface="+mn-ea"/>
          <a:cs typeface="+mn-cs"/>
        </a:defRPr>
      </a:lvl1pPr>
      <a:lvl2pPr marL="455371" algn="l" defTabSz="455371" rtl="0" eaLnBrk="1" latinLnBrk="0" hangingPunct="1">
        <a:defRPr sz="1793" kern="1200">
          <a:solidFill>
            <a:schemeClr val="tx1"/>
          </a:solidFill>
          <a:latin typeface="+mn-lt"/>
          <a:ea typeface="+mn-ea"/>
          <a:cs typeface="+mn-cs"/>
        </a:defRPr>
      </a:lvl2pPr>
      <a:lvl3pPr marL="910742" algn="l" defTabSz="455371" rtl="0" eaLnBrk="1" latinLnBrk="0" hangingPunct="1">
        <a:defRPr sz="1793" kern="1200">
          <a:solidFill>
            <a:schemeClr val="tx1"/>
          </a:solidFill>
          <a:latin typeface="+mn-lt"/>
          <a:ea typeface="+mn-ea"/>
          <a:cs typeface="+mn-cs"/>
        </a:defRPr>
      </a:lvl3pPr>
      <a:lvl4pPr marL="1366114" algn="l" defTabSz="455371" rtl="0" eaLnBrk="1" latinLnBrk="0" hangingPunct="1">
        <a:defRPr sz="1793" kern="1200">
          <a:solidFill>
            <a:schemeClr val="tx1"/>
          </a:solidFill>
          <a:latin typeface="+mn-lt"/>
          <a:ea typeface="+mn-ea"/>
          <a:cs typeface="+mn-cs"/>
        </a:defRPr>
      </a:lvl4pPr>
      <a:lvl5pPr marL="1821485" algn="l" defTabSz="455371" rtl="0" eaLnBrk="1" latinLnBrk="0" hangingPunct="1">
        <a:defRPr sz="1793" kern="1200">
          <a:solidFill>
            <a:schemeClr val="tx1"/>
          </a:solidFill>
          <a:latin typeface="+mn-lt"/>
          <a:ea typeface="+mn-ea"/>
          <a:cs typeface="+mn-cs"/>
        </a:defRPr>
      </a:lvl5pPr>
      <a:lvl6pPr marL="2276856" algn="l" defTabSz="455371" rtl="0" eaLnBrk="1" latinLnBrk="0" hangingPunct="1">
        <a:defRPr sz="1793" kern="1200">
          <a:solidFill>
            <a:schemeClr val="tx1"/>
          </a:solidFill>
          <a:latin typeface="+mn-lt"/>
          <a:ea typeface="+mn-ea"/>
          <a:cs typeface="+mn-cs"/>
        </a:defRPr>
      </a:lvl6pPr>
      <a:lvl7pPr marL="2732227" algn="l" defTabSz="455371" rtl="0" eaLnBrk="1" latinLnBrk="0" hangingPunct="1">
        <a:defRPr sz="1793" kern="1200">
          <a:solidFill>
            <a:schemeClr val="tx1"/>
          </a:solidFill>
          <a:latin typeface="+mn-lt"/>
          <a:ea typeface="+mn-ea"/>
          <a:cs typeface="+mn-cs"/>
        </a:defRPr>
      </a:lvl7pPr>
      <a:lvl8pPr marL="3187598" algn="l" defTabSz="455371" rtl="0" eaLnBrk="1" latinLnBrk="0" hangingPunct="1">
        <a:defRPr sz="1793" kern="1200">
          <a:solidFill>
            <a:schemeClr val="tx1"/>
          </a:solidFill>
          <a:latin typeface="+mn-lt"/>
          <a:ea typeface="+mn-ea"/>
          <a:cs typeface="+mn-cs"/>
        </a:defRPr>
      </a:lvl8pPr>
      <a:lvl9pPr marL="3642970" algn="l" defTabSz="455371" rtl="0" eaLnBrk="1" latinLnBrk="0" hangingPunct="1">
        <a:defRPr sz="179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7" Type="http://schemas.openxmlformats.org/officeDocument/2006/relationships/image" Target="../media/image8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9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4.jp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9.xml"/><Relationship Id="rId6" Type="http://schemas.openxmlformats.org/officeDocument/2006/relationships/image" Target="../media/image12.png"/><Relationship Id="rId5" Type="http://schemas.openxmlformats.org/officeDocument/2006/relationships/image" Target="../media/image6.png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9.xml"/><Relationship Id="rId6" Type="http://schemas.openxmlformats.org/officeDocument/2006/relationships/image" Target="../media/image16.png"/><Relationship Id="rId5" Type="http://schemas.openxmlformats.org/officeDocument/2006/relationships/image" Target="../media/image6.png"/><Relationship Id="rId4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asellaDiTesto 5"/>
          <p:cNvSpPr txBox="1"/>
          <p:nvPr/>
        </p:nvSpPr>
        <p:spPr>
          <a:xfrm>
            <a:off x="1519518" y="5983941"/>
            <a:ext cx="451552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>
                <a:solidFill>
                  <a:schemeClr val="bg1"/>
                </a:solidFill>
              </a:rPr>
              <a:t>19/10/2016</a:t>
            </a:r>
          </a:p>
          <a:p>
            <a:r>
              <a:rPr lang="it-IT" dirty="0">
                <a:solidFill>
                  <a:schemeClr val="bg1"/>
                </a:solidFill>
              </a:rPr>
              <a:t>Lorenzo Sironi – </a:t>
            </a:r>
            <a:r>
              <a:rPr lang="it-IT" dirty="0" err="1">
                <a:solidFill>
                  <a:schemeClr val="bg1"/>
                </a:solidFill>
              </a:rPr>
              <a:t>Belux</a:t>
            </a:r>
            <a:r>
              <a:rPr lang="it-IT" dirty="0">
                <a:solidFill>
                  <a:schemeClr val="bg1"/>
                </a:solidFill>
              </a:rPr>
              <a:t> </a:t>
            </a:r>
            <a:r>
              <a:rPr lang="it-IT" dirty="0" err="1">
                <a:solidFill>
                  <a:schemeClr val="bg1"/>
                </a:solidFill>
              </a:rPr>
              <a:t>Managing</a:t>
            </a:r>
            <a:r>
              <a:rPr lang="it-IT" dirty="0">
                <a:solidFill>
                  <a:schemeClr val="bg1"/>
                </a:solidFill>
              </a:rPr>
              <a:t> </a:t>
            </a:r>
            <a:r>
              <a:rPr lang="it-IT" dirty="0" err="1">
                <a:solidFill>
                  <a:schemeClr val="bg1"/>
                </a:solidFill>
              </a:rPr>
              <a:t>Director</a:t>
            </a:r>
            <a:endParaRPr lang="it-IT" dirty="0">
              <a:solidFill>
                <a:schemeClr val="bg1"/>
              </a:solidFill>
            </a:endParaRPr>
          </a:p>
        </p:txBody>
      </p:sp>
      <p:sp>
        <p:nvSpPr>
          <p:cNvPr id="4" name="CasellaDiTesto 3"/>
          <p:cNvSpPr txBox="1"/>
          <p:nvPr/>
        </p:nvSpPr>
        <p:spPr>
          <a:xfrm>
            <a:off x="323385" y="233748"/>
            <a:ext cx="849723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2000" dirty="0">
                <a:solidFill>
                  <a:schemeClr val="bg1"/>
                </a:solidFill>
              </a:rPr>
              <a:t>GOOD FOR YOU, GOOD FOR THE PLANET, GOOD FOR THE COMMUNITY</a:t>
            </a:r>
          </a:p>
        </p:txBody>
      </p:sp>
    </p:spTree>
    <p:extLst>
      <p:ext uri="{BB962C8B-B14F-4D97-AF65-F5344CB8AC3E}">
        <p14:creationId xmlns:p14="http://schemas.microsoft.com/office/powerpoint/2010/main" val="26053659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magin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-280850"/>
            <a:ext cx="9144000" cy="6153665"/>
          </a:xfrm>
          <a:prstGeom prst="rect">
            <a:avLst/>
          </a:prstGeom>
        </p:spPr>
      </p:pic>
      <p:sp>
        <p:nvSpPr>
          <p:cNvPr id="20" name="Rettangolo 19"/>
          <p:cNvSpPr/>
          <p:nvPr/>
        </p:nvSpPr>
        <p:spPr>
          <a:xfrm flipH="1">
            <a:off x="4584368" y="4198169"/>
            <a:ext cx="3020392" cy="323622"/>
          </a:xfrm>
          <a:prstGeom prst="rect">
            <a:avLst/>
          </a:prstGeom>
          <a:solidFill>
            <a:schemeClr val="bg1">
              <a:alpha val="81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Rettangolo 6"/>
          <p:cNvSpPr/>
          <p:nvPr/>
        </p:nvSpPr>
        <p:spPr>
          <a:xfrm>
            <a:off x="180008" y="1017845"/>
            <a:ext cx="7470472" cy="1863035"/>
          </a:xfrm>
          <a:prstGeom prst="rect">
            <a:avLst/>
          </a:prstGeom>
          <a:solidFill>
            <a:schemeClr val="bg1">
              <a:alpha val="81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CasellaDiTesto 7"/>
          <p:cNvSpPr txBox="1"/>
          <p:nvPr/>
        </p:nvSpPr>
        <p:spPr>
          <a:xfrm>
            <a:off x="271846" y="1361345"/>
            <a:ext cx="8568456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 algn="just" defTabSz="914400">
              <a:buFont typeface="Wingdings" panose="05000000000000000000" pitchFamily="2" charset="2"/>
              <a:buChar char="v"/>
            </a:pPr>
            <a:r>
              <a:rPr lang="en-US" sz="2000" dirty="0">
                <a:solidFill>
                  <a:schemeClr val="tx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mplify</a:t>
            </a:r>
            <a:r>
              <a:rPr lang="it-IT" sz="2000" dirty="0">
                <a:solidFill>
                  <a:schemeClr val="tx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the message</a:t>
            </a:r>
          </a:p>
          <a:p>
            <a:pPr marL="457200" indent="-457200" algn="just" defTabSz="914400">
              <a:buFont typeface="Wingdings" panose="05000000000000000000" pitchFamily="2" charset="2"/>
              <a:buChar char="v"/>
            </a:pPr>
            <a:endParaRPr lang="it-IT" sz="2000" dirty="0">
              <a:solidFill>
                <a:schemeClr val="tx1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457200" indent="-457200" algn="just" defTabSz="914400">
              <a:buFont typeface="Wingdings" panose="05000000000000000000" pitchFamily="2" charset="2"/>
              <a:buChar char="v"/>
            </a:pPr>
            <a:r>
              <a:rPr lang="it-IT" sz="2000" dirty="0">
                <a:solidFill>
                  <a:schemeClr val="tx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llaborate with </a:t>
            </a:r>
            <a:r>
              <a:rPr lang="it-IT" sz="2000" dirty="0" err="1">
                <a:solidFill>
                  <a:schemeClr val="tx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ther</a:t>
            </a:r>
            <a:r>
              <a:rPr lang="it-IT" sz="2000" dirty="0">
                <a:solidFill>
                  <a:schemeClr val="tx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it-IT" sz="2000" dirty="0" err="1">
                <a:solidFill>
                  <a:schemeClr val="tx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artners</a:t>
            </a:r>
            <a:endParaRPr lang="it-IT" sz="2000" dirty="0">
              <a:solidFill>
                <a:schemeClr val="tx1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just" defTabSz="914400"/>
            <a:endParaRPr lang="it-IT" sz="2000" dirty="0">
              <a:solidFill>
                <a:schemeClr val="tx1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9" name="Immagin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-30480" y="402446"/>
            <a:ext cx="7680960" cy="420514"/>
          </a:xfrm>
          <a:prstGeom prst="rect">
            <a:avLst/>
          </a:prstGeom>
        </p:spPr>
      </p:pic>
      <p:sp>
        <p:nvSpPr>
          <p:cNvPr id="10" name="CasellaDiTesto 9"/>
          <p:cNvSpPr txBox="1"/>
          <p:nvPr/>
        </p:nvSpPr>
        <p:spPr>
          <a:xfrm>
            <a:off x="0" y="331358"/>
            <a:ext cx="729996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800" dirty="0">
                <a:solidFill>
                  <a:schemeClr val="bg1"/>
                </a:solidFill>
                <a:latin typeface="Calibri" panose="020F0502020204030204" pitchFamily="34" charset="0"/>
              </a:rPr>
              <a:t>OUR COMMITMENT IN THE PROJECT</a:t>
            </a:r>
          </a:p>
        </p:txBody>
      </p:sp>
      <p:pic>
        <p:nvPicPr>
          <p:cNvPr id="16" name="Immagine 1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-15240" y="3313286"/>
            <a:ext cx="7680960" cy="420514"/>
          </a:xfrm>
          <a:prstGeom prst="rect">
            <a:avLst/>
          </a:prstGeom>
        </p:spPr>
      </p:pic>
      <p:sp>
        <p:nvSpPr>
          <p:cNvPr id="17" name="CasellaDiTesto 16"/>
          <p:cNvSpPr txBox="1"/>
          <p:nvPr/>
        </p:nvSpPr>
        <p:spPr>
          <a:xfrm>
            <a:off x="-45720" y="3242198"/>
            <a:ext cx="729996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800" dirty="0">
                <a:solidFill>
                  <a:schemeClr val="bg1"/>
                </a:solidFill>
                <a:latin typeface="Calibri" panose="020F0502020204030204" pitchFamily="34" charset="0"/>
              </a:rPr>
              <a:t>WHY WE HAVE SUPPORTED THE PROJECT</a:t>
            </a:r>
          </a:p>
        </p:txBody>
      </p:sp>
      <p:pic>
        <p:nvPicPr>
          <p:cNvPr id="19" name="Immagine 18"/>
          <p:cNvPicPr>
            <a:picLocks noChangeAspect="1"/>
          </p:cNvPicPr>
          <p:nvPr/>
        </p:nvPicPr>
        <p:blipFill rotWithShape="1">
          <a:blip r:embed="rId6"/>
          <a:srcRect t="36948"/>
          <a:stretch/>
        </p:blipFill>
        <p:spPr>
          <a:xfrm>
            <a:off x="4601926" y="4541520"/>
            <a:ext cx="3018074" cy="1070200"/>
          </a:xfrm>
          <a:prstGeom prst="rect">
            <a:avLst/>
          </a:prstGeom>
        </p:spPr>
      </p:pic>
      <p:sp>
        <p:nvSpPr>
          <p:cNvPr id="23" name="Rettangolo 22"/>
          <p:cNvSpPr/>
          <p:nvPr/>
        </p:nvSpPr>
        <p:spPr>
          <a:xfrm>
            <a:off x="5191027" y="4167650"/>
            <a:ext cx="1874231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 defTabSz="914400"/>
            <a:r>
              <a:rPr lang="it-IT" sz="2000" b="1" dirty="0">
                <a:solidFill>
                  <a:schemeClr val="tx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ur ambition</a:t>
            </a:r>
          </a:p>
        </p:txBody>
      </p:sp>
      <p:sp>
        <p:nvSpPr>
          <p:cNvPr id="24" name="Rettangolo 23"/>
          <p:cNvSpPr/>
          <p:nvPr/>
        </p:nvSpPr>
        <p:spPr>
          <a:xfrm>
            <a:off x="4632406" y="4823054"/>
            <a:ext cx="2835194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/>
            <a:r>
              <a:rPr lang="it-IT" sz="2000" i="1" dirty="0">
                <a:solidFill>
                  <a:schemeClr val="tx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ne of the most reputable companies</a:t>
            </a:r>
          </a:p>
        </p:txBody>
      </p:sp>
      <p:grpSp>
        <p:nvGrpSpPr>
          <p:cNvPr id="2" name="Gruppo 1"/>
          <p:cNvGrpSpPr/>
          <p:nvPr/>
        </p:nvGrpSpPr>
        <p:grpSpPr>
          <a:xfrm>
            <a:off x="202645" y="4203726"/>
            <a:ext cx="3020393" cy="1381966"/>
            <a:chOff x="180007" y="4395591"/>
            <a:chExt cx="3020393" cy="1381966"/>
          </a:xfrm>
        </p:grpSpPr>
        <p:sp>
          <p:nvSpPr>
            <p:cNvPr id="26" name="Rettangolo 25"/>
            <p:cNvSpPr/>
            <p:nvPr/>
          </p:nvSpPr>
          <p:spPr>
            <a:xfrm flipH="1">
              <a:off x="180007" y="4395591"/>
              <a:ext cx="3020392" cy="323622"/>
            </a:xfrm>
            <a:prstGeom prst="rect">
              <a:avLst/>
            </a:prstGeom>
            <a:solidFill>
              <a:schemeClr val="bg1">
                <a:alpha val="81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18" name="Immagine 17"/>
            <p:cNvPicPr>
              <a:picLocks noChangeAspect="1"/>
            </p:cNvPicPr>
            <p:nvPr/>
          </p:nvPicPr>
          <p:blipFill rotWithShape="1">
            <a:blip r:embed="rId6"/>
            <a:srcRect t="37579"/>
            <a:stretch/>
          </p:blipFill>
          <p:spPr>
            <a:xfrm>
              <a:off x="198983" y="4739640"/>
              <a:ext cx="3001417" cy="1037917"/>
            </a:xfrm>
            <a:prstGeom prst="rect">
              <a:avLst/>
            </a:prstGeom>
          </p:spPr>
        </p:pic>
        <p:sp>
          <p:nvSpPr>
            <p:cNvPr id="25" name="Rettangolo 24"/>
            <p:cNvSpPr/>
            <p:nvPr/>
          </p:nvSpPr>
          <p:spPr>
            <a:xfrm>
              <a:off x="198982" y="5055020"/>
              <a:ext cx="2941011" cy="3231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 defTabSz="914400"/>
              <a:endParaRPr lang="it-IT" sz="1500" dirty="0">
                <a:solidFill>
                  <a:schemeClr val="tx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sp>
        <p:nvSpPr>
          <p:cNvPr id="22" name="Rettangolo 21"/>
          <p:cNvSpPr/>
          <p:nvPr/>
        </p:nvSpPr>
        <p:spPr>
          <a:xfrm>
            <a:off x="1061605" y="4163128"/>
            <a:ext cx="129875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 defTabSz="914400"/>
            <a:r>
              <a:rPr lang="it-IT" sz="2000" b="1" dirty="0" err="1">
                <a:solidFill>
                  <a:schemeClr val="tx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ur</a:t>
            </a:r>
            <a:r>
              <a:rPr lang="it-IT" sz="2000" b="1" dirty="0">
                <a:solidFill>
                  <a:schemeClr val="tx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DNA</a:t>
            </a:r>
          </a:p>
        </p:txBody>
      </p:sp>
      <p:sp>
        <p:nvSpPr>
          <p:cNvPr id="27" name="Rettangolo 26"/>
          <p:cNvSpPr/>
          <p:nvPr/>
        </p:nvSpPr>
        <p:spPr>
          <a:xfrm>
            <a:off x="191141" y="4803611"/>
            <a:ext cx="2957114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/>
            <a:r>
              <a:rPr lang="it-IT" sz="2000" i="1" dirty="0">
                <a:solidFill>
                  <a:schemeClr val="tx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e </a:t>
            </a:r>
            <a:r>
              <a:rPr lang="it-IT" sz="2000" i="1" dirty="0" err="1">
                <a:solidFill>
                  <a:schemeClr val="tx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talian</a:t>
            </a:r>
            <a:r>
              <a:rPr lang="it-IT" sz="2000" i="1" dirty="0">
                <a:solidFill>
                  <a:schemeClr val="tx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it-IT" sz="2000" i="1" dirty="0" err="1">
                <a:solidFill>
                  <a:schemeClr val="tx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ood</a:t>
            </a:r>
            <a:r>
              <a:rPr lang="it-IT" sz="2000" i="1" dirty="0">
                <a:solidFill>
                  <a:schemeClr val="tx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company </a:t>
            </a:r>
            <a:r>
              <a:rPr lang="it-IT" sz="2000" i="1" dirty="0" err="1">
                <a:solidFill>
                  <a:schemeClr val="tx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ince</a:t>
            </a:r>
            <a:r>
              <a:rPr lang="it-IT" sz="2000" i="1" dirty="0">
                <a:solidFill>
                  <a:schemeClr val="tx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1877</a:t>
            </a:r>
          </a:p>
        </p:txBody>
      </p:sp>
      <p:pic>
        <p:nvPicPr>
          <p:cNvPr id="21" name="Picture 2" descr="http://europa.eu/rapid/exploit/2014/07/CES/EN/e14_47.eni/Pictures/10000000000002A4000001AC789BACFA.jpg"/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34891" y="1746042"/>
            <a:ext cx="1482683" cy="9387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3501550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asellaDiTesto 10"/>
          <p:cNvSpPr txBox="1"/>
          <p:nvPr/>
        </p:nvSpPr>
        <p:spPr>
          <a:xfrm>
            <a:off x="457199" y="309284"/>
            <a:ext cx="575534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800" dirty="0">
                <a:solidFill>
                  <a:prstClr val="white"/>
                </a:solidFill>
              </a:rPr>
              <a:t>OUR PURPOSE AS A COMPANY</a:t>
            </a:r>
          </a:p>
        </p:txBody>
      </p:sp>
      <p:sp>
        <p:nvSpPr>
          <p:cNvPr id="16" name="CasellaDiTesto 15"/>
          <p:cNvSpPr txBox="1"/>
          <p:nvPr/>
        </p:nvSpPr>
        <p:spPr>
          <a:xfrm>
            <a:off x="218208" y="2559210"/>
            <a:ext cx="439535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3200" b="1" i="1" dirty="0">
                <a:solidFill>
                  <a:srgbClr val="1E3078"/>
                </a:solidFill>
              </a:rPr>
              <a:t>“</a:t>
            </a:r>
            <a:r>
              <a:rPr lang="en-US" sz="3200" b="1" i="1" noProof="1">
                <a:solidFill>
                  <a:srgbClr val="1E3078"/>
                </a:solidFill>
              </a:rPr>
              <a:t>Give</a:t>
            </a:r>
            <a:r>
              <a:rPr lang="it-IT" sz="3200" b="1" i="1" dirty="0">
                <a:solidFill>
                  <a:srgbClr val="1E3078"/>
                </a:solidFill>
              </a:rPr>
              <a:t> people food you would give to your own children ”</a:t>
            </a:r>
          </a:p>
        </p:txBody>
      </p:sp>
      <p:sp>
        <p:nvSpPr>
          <p:cNvPr id="17" name="CasellaDiTesto 16"/>
          <p:cNvSpPr txBox="1"/>
          <p:nvPr/>
        </p:nvSpPr>
        <p:spPr>
          <a:xfrm>
            <a:off x="3673764" y="4414939"/>
            <a:ext cx="9398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000" dirty="0">
                <a:solidFill>
                  <a:srgbClr val="1E3078"/>
                </a:solidFill>
              </a:rPr>
              <a:t>Pietro Barilla</a:t>
            </a:r>
          </a:p>
        </p:txBody>
      </p:sp>
    </p:spTree>
    <p:extLst>
      <p:ext uri="{BB962C8B-B14F-4D97-AF65-F5344CB8AC3E}">
        <p14:creationId xmlns:p14="http://schemas.microsoft.com/office/powerpoint/2010/main" val="391856790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asellaDiTesto 7"/>
          <p:cNvSpPr txBox="1"/>
          <p:nvPr/>
        </p:nvSpPr>
        <p:spPr>
          <a:xfrm>
            <a:off x="457199" y="319444"/>
            <a:ext cx="80177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800" b="1" dirty="0">
                <a:solidFill>
                  <a:prstClr val="white"/>
                </a:solidFill>
              </a:rPr>
              <a:t>GOOD FOR THE COMMUNITIES</a:t>
            </a:r>
          </a:p>
        </p:txBody>
      </p:sp>
      <p:sp>
        <p:nvSpPr>
          <p:cNvPr id="6" name="CasellaDiTesto 5"/>
          <p:cNvSpPr txBox="1"/>
          <p:nvPr/>
        </p:nvSpPr>
        <p:spPr>
          <a:xfrm>
            <a:off x="457199" y="909892"/>
            <a:ext cx="67926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1E2F76"/>
                </a:solidFill>
              </a:rPr>
              <a:t>ENCOURAGING THE INCLUSION OF ALL</a:t>
            </a:r>
            <a:r>
              <a:rPr lang="it-IT" sz="1200" dirty="0">
                <a:solidFill>
                  <a:srgbClr val="1E2F76"/>
                </a:solidFill>
              </a:rPr>
              <a:t> </a:t>
            </a:r>
          </a:p>
          <a:p>
            <a:r>
              <a:rPr lang="en-US" sz="1200" dirty="0">
                <a:solidFill>
                  <a:srgbClr val="1E2F76"/>
                </a:solidFill>
              </a:rPr>
              <a:t>Barilla promotes the inclusion of people through programs for access to food, educational projects and the promotion of diversity.</a:t>
            </a:r>
            <a:endParaRPr lang="it-IT" sz="1200" dirty="0">
              <a:solidFill>
                <a:srgbClr val="1E2F76"/>
              </a:solidFill>
            </a:endParaRPr>
          </a:p>
        </p:txBody>
      </p:sp>
      <p:sp>
        <p:nvSpPr>
          <p:cNvPr id="7" name="CasellaDiTesto 6"/>
          <p:cNvSpPr txBox="1"/>
          <p:nvPr/>
        </p:nvSpPr>
        <p:spPr>
          <a:xfrm>
            <a:off x="626166" y="1719099"/>
            <a:ext cx="209715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200" b="1" dirty="0">
                <a:solidFill>
                  <a:srgbClr val="1E2F76"/>
                </a:solidFill>
              </a:rPr>
              <a:t>SOCIAL INCLUSION</a:t>
            </a:r>
            <a:endParaRPr lang="it-IT" sz="1200" dirty="0">
              <a:solidFill>
                <a:srgbClr val="1E2F76"/>
              </a:solidFill>
            </a:endParaRPr>
          </a:p>
        </p:txBody>
      </p:sp>
      <p:sp>
        <p:nvSpPr>
          <p:cNvPr id="10" name="CasellaDiTesto 9"/>
          <p:cNvSpPr txBox="1"/>
          <p:nvPr/>
        </p:nvSpPr>
        <p:spPr>
          <a:xfrm>
            <a:off x="2991679" y="1719099"/>
            <a:ext cx="209715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200" b="1" dirty="0">
                <a:solidFill>
                  <a:srgbClr val="1E2F76"/>
                </a:solidFill>
              </a:rPr>
              <a:t>EDUCATION</a:t>
            </a:r>
            <a:endParaRPr lang="it-IT" sz="1200" dirty="0">
              <a:solidFill>
                <a:srgbClr val="1E2F76"/>
              </a:solidFill>
            </a:endParaRPr>
          </a:p>
        </p:txBody>
      </p:sp>
      <p:sp>
        <p:nvSpPr>
          <p:cNvPr id="11" name="CasellaDiTesto 10"/>
          <p:cNvSpPr txBox="1"/>
          <p:nvPr/>
        </p:nvSpPr>
        <p:spPr>
          <a:xfrm>
            <a:off x="5436705" y="1719099"/>
            <a:ext cx="209715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200" b="1" dirty="0">
                <a:solidFill>
                  <a:srgbClr val="1E2F76"/>
                </a:solidFill>
              </a:rPr>
              <a:t>BARILLA PEOPLE</a:t>
            </a:r>
            <a:endParaRPr lang="it-IT" sz="1200" dirty="0">
              <a:solidFill>
                <a:srgbClr val="1E2F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359742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/>
          <p:cNvPicPr>
            <a:picLocks noChangeAspect="1"/>
          </p:cNvPicPr>
          <p:nvPr/>
        </p:nvPicPr>
        <p:blipFill rotWithShape="1">
          <a:blip r:embed="rId4"/>
          <a:srcRect r="29206"/>
          <a:stretch/>
        </p:blipFill>
        <p:spPr>
          <a:xfrm>
            <a:off x="1" y="15240"/>
            <a:ext cx="9128760" cy="5836065"/>
          </a:xfrm>
          <a:prstGeom prst="rect">
            <a:avLst/>
          </a:prstGeom>
        </p:spPr>
      </p:pic>
      <p:sp>
        <p:nvSpPr>
          <p:cNvPr id="29" name="Rettangolo 28"/>
          <p:cNvSpPr/>
          <p:nvPr/>
        </p:nvSpPr>
        <p:spPr bwMode="auto">
          <a:xfrm>
            <a:off x="3259876" y="901406"/>
            <a:ext cx="2160240" cy="4848645"/>
          </a:xfrm>
          <a:prstGeom prst="rect">
            <a:avLst/>
          </a:prstGeom>
          <a:solidFill>
            <a:schemeClr val="bg1">
              <a:alpha val="81000"/>
            </a:schemeClr>
          </a:solidFill>
          <a:ln>
            <a:solidFill>
              <a:srgbClr val="FFC000"/>
            </a:solidFill>
          </a:ln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0" name="Rettangolo 29"/>
          <p:cNvSpPr/>
          <p:nvPr/>
        </p:nvSpPr>
        <p:spPr bwMode="auto">
          <a:xfrm>
            <a:off x="5898624" y="900988"/>
            <a:ext cx="2160240" cy="4848645"/>
          </a:xfrm>
          <a:prstGeom prst="rect">
            <a:avLst/>
          </a:prstGeom>
          <a:solidFill>
            <a:schemeClr val="bg1">
              <a:alpha val="81000"/>
            </a:schemeClr>
          </a:solidFill>
          <a:ln>
            <a:solidFill>
              <a:srgbClr val="FFC000"/>
            </a:solidFill>
          </a:ln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1" name="Rettangolo 30"/>
          <p:cNvSpPr/>
          <p:nvPr/>
        </p:nvSpPr>
        <p:spPr bwMode="auto">
          <a:xfrm>
            <a:off x="494278" y="900987"/>
            <a:ext cx="2160240" cy="4848645"/>
          </a:xfrm>
          <a:prstGeom prst="rect">
            <a:avLst/>
          </a:prstGeom>
          <a:solidFill>
            <a:schemeClr val="bg1">
              <a:alpha val="81000"/>
            </a:schemeClr>
          </a:solidFill>
          <a:ln>
            <a:solidFill>
              <a:srgbClr val="FFC000"/>
            </a:solidFill>
          </a:ln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32" name="Connettore 2 31"/>
          <p:cNvCxnSpPr/>
          <p:nvPr/>
        </p:nvCxnSpPr>
        <p:spPr bwMode="auto">
          <a:xfrm>
            <a:off x="137985" y="2941320"/>
            <a:ext cx="8784976" cy="0"/>
          </a:xfrm>
          <a:prstGeom prst="straightConnector1">
            <a:avLst/>
          </a:prstGeom>
          <a:solidFill>
            <a:schemeClr val="accent1"/>
          </a:solidFill>
          <a:ln w="76200" cap="flat" cmpd="sng" algn="ctr">
            <a:solidFill>
              <a:schemeClr val="accent6">
                <a:lumMod val="75000"/>
              </a:schemeClr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3" name="Rettangolo 32"/>
          <p:cNvSpPr/>
          <p:nvPr/>
        </p:nvSpPr>
        <p:spPr>
          <a:xfrm>
            <a:off x="1228790" y="2480308"/>
            <a:ext cx="69121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it-IT" cap="all" dirty="0">
                <a:ln w="9000" cmpd="sng">
                  <a:solidFill>
                    <a:srgbClr val="000000">
                      <a:shade val="50000"/>
                      <a:satMod val="120000"/>
                    </a:srgbClr>
                  </a:solidFill>
                  <a:prstDash val="solid"/>
                </a:ln>
                <a:gradFill>
                  <a:gsLst>
                    <a:gs pos="0">
                      <a:srgbClr val="000000">
                        <a:shade val="20000"/>
                        <a:satMod val="245000"/>
                      </a:srgbClr>
                    </a:gs>
                    <a:gs pos="43000">
                      <a:srgbClr val="000000">
                        <a:satMod val="255000"/>
                      </a:srgbClr>
                    </a:gs>
                    <a:gs pos="48000">
                      <a:srgbClr val="000000">
                        <a:shade val="85000"/>
                        <a:satMod val="255000"/>
                      </a:srgbClr>
                    </a:gs>
                    <a:gs pos="100000">
                      <a:srgbClr val="000000">
                        <a:shade val="20000"/>
                        <a:satMod val="245000"/>
                      </a:srgb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  <a:latin typeface="Tahoma"/>
                <a:ea typeface="ＭＳ Ｐゴシック" pitchFamily="34" charset="-128"/>
                <a:sym typeface="Gill Sans" charset="0"/>
              </a:rPr>
              <a:t>2016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4" name="Rettangolo 33"/>
          <p:cNvSpPr/>
          <p:nvPr/>
        </p:nvSpPr>
        <p:spPr>
          <a:xfrm>
            <a:off x="494278" y="3360222"/>
            <a:ext cx="2012477" cy="22159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 defTabSz="914400">
              <a:buFont typeface="Wingdings" panose="05000000000000000000" pitchFamily="2" charset="2"/>
              <a:buChar char="v"/>
            </a:pPr>
            <a:r>
              <a:rPr lang="it-IT" sz="1300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efine</a:t>
            </a:r>
            <a:r>
              <a:rPr lang="it-IT" sz="130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scope and </a:t>
            </a:r>
            <a:r>
              <a:rPr lang="it-IT" sz="1300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bjectives</a:t>
            </a:r>
            <a:endParaRPr lang="it-IT" sz="130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457200" indent="-457200" defTabSz="914400">
              <a:buFont typeface="Wingdings" panose="05000000000000000000" pitchFamily="2" charset="2"/>
              <a:buChar char="v"/>
            </a:pPr>
            <a:endParaRPr lang="it-IT" sz="130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457200" indent="-457200" defTabSz="914400">
              <a:buFont typeface="Wingdings" panose="05000000000000000000" pitchFamily="2" charset="2"/>
              <a:buChar char="v"/>
            </a:pPr>
            <a:r>
              <a:rPr lang="it-IT" sz="130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eet with associations </a:t>
            </a:r>
          </a:p>
          <a:p>
            <a:pPr marL="457200" indent="-457200" defTabSz="914400">
              <a:buFont typeface="Wingdings" panose="05000000000000000000" pitchFamily="2" charset="2"/>
              <a:buChar char="v"/>
            </a:pPr>
            <a:endParaRPr lang="it-IT" sz="130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457200" indent="-457200" defTabSz="914400">
              <a:buFont typeface="Wingdings" panose="05000000000000000000" pitchFamily="2" charset="2"/>
              <a:buChar char="v"/>
            </a:pPr>
            <a:r>
              <a:rPr lang="it-IT" sz="1300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aunch</a:t>
            </a:r>
            <a:r>
              <a:rPr lang="it-IT" sz="130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a </a:t>
            </a:r>
            <a:r>
              <a:rPr lang="it-IT" sz="1300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ilot</a:t>
            </a:r>
            <a:r>
              <a:rPr lang="it-IT" sz="130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it-IT" sz="1300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ject</a:t>
            </a:r>
            <a:endParaRPr lang="it-IT" sz="130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defTabSz="914400"/>
            <a:endParaRPr lang="it-IT" sz="2000" dirty="0">
              <a:solidFill>
                <a:schemeClr val="tx1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defTabSz="914400"/>
            <a:endParaRPr lang="it-IT" sz="1400" dirty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35" name="Rettangolo 34"/>
          <p:cNvSpPr/>
          <p:nvPr/>
        </p:nvSpPr>
        <p:spPr>
          <a:xfrm>
            <a:off x="4012836" y="2462370"/>
            <a:ext cx="69121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it-IT" cap="all" dirty="0">
                <a:ln w="9000" cmpd="sng">
                  <a:solidFill>
                    <a:srgbClr val="000000">
                      <a:shade val="50000"/>
                      <a:satMod val="120000"/>
                    </a:srgbClr>
                  </a:solidFill>
                  <a:prstDash val="solid"/>
                </a:ln>
                <a:gradFill>
                  <a:gsLst>
                    <a:gs pos="0">
                      <a:srgbClr val="000000">
                        <a:shade val="20000"/>
                        <a:satMod val="245000"/>
                      </a:srgbClr>
                    </a:gs>
                    <a:gs pos="43000">
                      <a:srgbClr val="000000">
                        <a:satMod val="255000"/>
                      </a:srgbClr>
                    </a:gs>
                    <a:gs pos="48000">
                      <a:srgbClr val="000000">
                        <a:shade val="85000"/>
                        <a:satMod val="255000"/>
                      </a:srgbClr>
                    </a:gs>
                    <a:gs pos="100000">
                      <a:srgbClr val="000000">
                        <a:shade val="20000"/>
                        <a:satMod val="245000"/>
                      </a:srgb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  <a:latin typeface="Tahoma"/>
                <a:ea typeface="ＭＳ Ｐゴシック" pitchFamily="34" charset="-128"/>
                <a:sym typeface="Gill Sans" charset="0"/>
              </a:rPr>
              <a:t>2017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6" name="Rettangolo 35"/>
          <p:cNvSpPr/>
          <p:nvPr/>
        </p:nvSpPr>
        <p:spPr>
          <a:xfrm>
            <a:off x="6548978" y="2491506"/>
            <a:ext cx="8595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it-IT" cap="all" dirty="0">
                <a:ln w="9000" cmpd="sng">
                  <a:solidFill>
                    <a:srgbClr val="000000">
                      <a:shade val="50000"/>
                      <a:satMod val="120000"/>
                    </a:srgbClr>
                  </a:solidFill>
                  <a:prstDash val="solid"/>
                </a:ln>
                <a:gradFill>
                  <a:gsLst>
                    <a:gs pos="0">
                      <a:srgbClr val="000000">
                        <a:shade val="20000"/>
                        <a:satMod val="245000"/>
                      </a:srgbClr>
                    </a:gs>
                    <a:gs pos="43000">
                      <a:srgbClr val="000000">
                        <a:satMod val="255000"/>
                      </a:srgbClr>
                    </a:gs>
                    <a:gs pos="48000">
                      <a:srgbClr val="000000">
                        <a:shade val="85000"/>
                        <a:satMod val="255000"/>
                      </a:srgbClr>
                    </a:gs>
                    <a:gs pos="100000">
                      <a:srgbClr val="000000">
                        <a:shade val="20000"/>
                        <a:satMod val="245000"/>
                      </a:srgb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  <a:latin typeface="Tahoma"/>
                <a:ea typeface="ＭＳ Ｐゴシック" pitchFamily="34" charset="-128"/>
                <a:sym typeface="Gill Sans" charset="0"/>
              </a:rPr>
              <a:t>2018+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7" name="Ovale 36"/>
          <p:cNvSpPr/>
          <p:nvPr/>
        </p:nvSpPr>
        <p:spPr bwMode="auto">
          <a:xfrm>
            <a:off x="365425" y="733021"/>
            <a:ext cx="576064" cy="528166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headEnd type="none" w="med" len="med"/>
            <a:tailEnd type="none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  <a:reflection blurRad="6350" stA="52000" endA="300" endPos="35000" dir="5400000" sy="-100000" algn="bl" rotWithShape="0"/>
          </a:effectLst>
          <a:extLst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2400" b="1" dirty="0">
              <a:solidFill>
                <a:srgbClr val="FFFFFF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38" name="Rettangolo 37"/>
          <p:cNvSpPr/>
          <p:nvPr/>
        </p:nvSpPr>
        <p:spPr>
          <a:xfrm>
            <a:off x="388272" y="720551"/>
            <a:ext cx="53037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/>
            <a:r>
              <a:rPr lang="it-IT" sz="2800" b="1" cap="all" dirty="0">
                <a:ln w="9000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reflection blurRad="12700" stA="28000" endPos="45000" dist="1000" dir="5400000" sy="-100000" algn="bl" rotWithShape="0"/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Gill Sans" charset="0"/>
              </a:rPr>
              <a:t>1</a:t>
            </a:r>
            <a:endParaRPr lang="en-US" sz="2800" b="1" cap="all" dirty="0">
              <a:ln w="9000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reflection blurRad="12700" stA="28000" endPos="45000" dist="1000" dir="5400000" sy="-100000" algn="bl" rotWithShape="0"/>
              </a:effectLst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9" name="Ovale 38"/>
          <p:cNvSpPr/>
          <p:nvPr/>
        </p:nvSpPr>
        <p:spPr bwMode="auto">
          <a:xfrm>
            <a:off x="3113172" y="744402"/>
            <a:ext cx="576064" cy="528166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headEnd type="none" w="med" len="med"/>
            <a:tailEnd type="none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  <a:reflection blurRad="6350" stA="52000" endA="300" endPos="35000" dir="5400000" sy="-100000" algn="bl" rotWithShape="0"/>
          </a:effectLst>
          <a:extLst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2400" b="1" dirty="0">
              <a:solidFill>
                <a:srgbClr val="FFFFFF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40" name="Rettangolo 39"/>
          <p:cNvSpPr/>
          <p:nvPr/>
        </p:nvSpPr>
        <p:spPr>
          <a:xfrm>
            <a:off x="3147436" y="731932"/>
            <a:ext cx="53037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/>
            <a:r>
              <a:rPr lang="it-IT" sz="2800" b="1" cap="all" dirty="0">
                <a:ln w="9000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reflection blurRad="12700" stA="28000" endPos="45000" dist="1000" dir="5400000" sy="-100000" algn="bl" rotWithShape="0"/>
                </a:effectLst>
                <a:latin typeface="Tahoma"/>
                <a:ea typeface="ＭＳ Ｐゴシック" pitchFamily="34" charset="-128"/>
                <a:cs typeface="ＭＳ Ｐゴシック"/>
                <a:sym typeface="Gill Sans" charset="0"/>
              </a:rPr>
              <a:t>2</a:t>
            </a:r>
            <a:endParaRPr lang="en-US" sz="2800" b="1" cap="all" dirty="0">
              <a:ln w="9000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reflection blurRad="12700" stA="28000" endPos="45000" dist="1000" dir="5400000" sy="-100000" algn="bl" rotWithShape="0"/>
              </a:effectLst>
              <a:latin typeface="Tahoma"/>
              <a:ea typeface="ＭＳ Ｐゴシック" pitchFamily="34" charset="-128"/>
              <a:cs typeface="ＭＳ Ｐゴシック"/>
            </a:endParaRPr>
          </a:p>
        </p:txBody>
      </p:sp>
      <p:sp>
        <p:nvSpPr>
          <p:cNvPr id="41" name="Ovale 40"/>
          <p:cNvSpPr/>
          <p:nvPr/>
        </p:nvSpPr>
        <p:spPr bwMode="auto">
          <a:xfrm>
            <a:off x="5754609" y="759260"/>
            <a:ext cx="576064" cy="528166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headEnd type="none" w="med" len="med"/>
            <a:tailEnd type="none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  <a:reflection blurRad="6350" stA="52000" endA="300" endPos="35000" dir="5400000" sy="-100000" algn="bl" rotWithShape="0"/>
          </a:effectLst>
          <a:extLst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2400" b="1" dirty="0">
              <a:solidFill>
                <a:srgbClr val="FFFFFF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42" name="Rettangolo 41"/>
          <p:cNvSpPr/>
          <p:nvPr/>
        </p:nvSpPr>
        <p:spPr>
          <a:xfrm>
            <a:off x="5788872" y="746790"/>
            <a:ext cx="53037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/>
            <a:r>
              <a:rPr lang="it-IT" sz="2800" b="1" cap="all" dirty="0">
                <a:ln w="9000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reflection blurRad="12700" stA="28000" endPos="45000" dist="1000" dir="5400000" sy="-100000" algn="bl" rotWithShape="0"/>
                </a:effectLst>
                <a:latin typeface="Tahoma"/>
                <a:ea typeface="ＭＳ Ｐゴシック" pitchFamily="34" charset="-128"/>
                <a:cs typeface="ＭＳ Ｐゴシック"/>
                <a:sym typeface="Gill Sans" charset="0"/>
              </a:rPr>
              <a:t>3</a:t>
            </a:r>
            <a:endParaRPr lang="en-US" sz="2800" b="1" cap="all" dirty="0">
              <a:ln w="9000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reflection blurRad="12700" stA="28000" endPos="45000" dist="1000" dir="5400000" sy="-100000" algn="bl" rotWithShape="0"/>
              </a:effectLst>
              <a:latin typeface="Tahoma"/>
              <a:ea typeface="ＭＳ Ｐゴシック" pitchFamily="34" charset="-128"/>
              <a:cs typeface="ＭＳ Ｐゴシック"/>
            </a:endParaRPr>
          </a:p>
        </p:txBody>
      </p:sp>
      <p:pic>
        <p:nvPicPr>
          <p:cNvPr id="43" name="Immagine 4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189086"/>
            <a:ext cx="7680960" cy="420514"/>
          </a:xfrm>
          <a:prstGeom prst="rect">
            <a:avLst/>
          </a:prstGeom>
        </p:spPr>
      </p:pic>
      <p:sp>
        <p:nvSpPr>
          <p:cNvPr id="44" name="CasellaDiTesto 43"/>
          <p:cNvSpPr txBox="1"/>
          <p:nvPr/>
        </p:nvSpPr>
        <p:spPr>
          <a:xfrm>
            <a:off x="0" y="148478"/>
            <a:ext cx="729996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800" dirty="0">
                <a:solidFill>
                  <a:prstClr val="white"/>
                </a:solidFill>
              </a:rPr>
              <a:t>OUR PROJECT IN BELGIUM</a:t>
            </a:r>
          </a:p>
        </p:txBody>
      </p:sp>
      <p:sp>
        <p:nvSpPr>
          <p:cNvPr id="45" name="Rettangolo 44"/>
          <p:cNvSpPr/>
          <p:nvPr/>
        </p:nvSpPr>
        <p:spPr>
          <a:xfrm>
            <a:off x="3303813" y="3342284"/>
            <a:ext cx="2012477" cy="21082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 defTabSz="914400">
              <a:buFont typeface="Wingdings" panose="05000000000000000000" pitchFamily="2" charset="2"/>
              <a:buChar char="v"/>
            </a:pPr>
            <a:r>
              <a:rPr lang="it-IT" sz="1300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hoose</a:t>
            </a:r>
            <a:r>
              <a:rPr lang="it-IT" sz="130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it-IT" sz="1300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ur</a:t>
            </a:r>
            <a:r>
              <a:rPr lang="it-IT" sz="130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partner</a:t>
            </a:r>
          </a:p>
          <a:p>
            <a:pPr marL="457200" indent="-457200" defTabSz="914400">
              <a:buFont typeface="Wingdings" panose="05000000000000000000" pitchFamily="2" charset="2"/>
              <a:buChar char="v"/>
            </a:pPr>
            <a:endParaRPr lang="it-IT" sz="130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457200" indent="-457200" defTabSz="914400">
              <a:buFont typeface="Wingdings" panose="05000000000000000000" pitchFamily="2" charset="2"/>
              <a:buChar char="v"/>
            </a:pPr>
            <a:r>
              <a:rPr lang="it-IT" sz="1300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efine</a:t>
            </a:r>
            <a:r>
              <a:rPr lang="it-IT" sz="130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it-IT" sz="1300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ur</a:t>
            </a:r>
            <a:r>
              <a:rPr lang="it-IT" sz="130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it-IT" sz="1300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ntribution</a:t>
            </a:r>
            <a:endParaRPr lang="it-IT" sz="130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457200" indent="-457200" defTabSz="914400">
              <a:buFont typeface="Wingdings" panose="05000000000000000000" pitchFamily="2" charset="2"/>
              <a:buChar char="v"/>
            </a:pPr>
            <a:endParaRPr lang="it-IT" sz="130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457200" indent="-457200" defTabSz="914400">
              <a:buFont typeface="Wingdings" panose="05000000000000000000" pitchFamily="2" charset="2"/>
              <a:buChar char="v"/>
            </a:pPr>
            <a:r>
              <a:rPr lang="it-IT" sz="130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ind our local heroes </a:t>
            </a:r>
          </a:p>
          <a:p>
            <a:pPr marL="457200" indent="-457200" defTabSz="914400">
              <a:buFont typeface="Wingdings" panose="05000000000000000000" pitchFamily="2" charset="2"/>
              <a:buChar char="v"/>
            </a:pPr>
            <a:endParaRPr lang="it-IT" sz="130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457200" indent="-457200" defTabSz="914400">
              <a:buFont typeface="Wingdings" panose="05000000000000000000" pitchFamily="2" charset="2"/>
              <a:buChar char="v"/>
            </a:pPr>
            <a:endParaRPr lang="it-IT" sz="130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6" name="Rettangolo 45"/>
          <p:cNvSpPr/>
          <p:nvPr/>
        </p:nvSpPr>
        <p:spPr>
          <a:xfrm>
            <a:off x="6000667" y="3341136"/>
            <a:ext cx="2012477" cy="19082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 defTabSz="914400">
              <a:buFont typeface="Wingdings" panose="05000000000000000000" pitchFamily="2" charset="2"/>
              <a:buChar char="v"/>
            </a:pPr>
            <a:r>
              <a:rPr lang="it-IT" sz="130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cale up</a:t>
            </a:r>
          </a:p>
          <a:p>
            <a:pPr marL="457200" indent="-457200" defTabSz="914400">
              <a:buFont typeface="Wingdings" panose="05000000000000000000" pitchFamily="2" charset="2"/>
              <a:buChar char="v"/>
            </a:pPr>
            <a:endParaRPr lang="it-IT" sz="130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457200" indent="-457200" defTabSz="914400">
              <a:buFont typeface="Wingdings" panose="05000000000000000000" pitchFamily="2" charset="2"/>
              <a:buChar char="v"/>
            </a:pPr>
            <a:r>
              <a:rPr lang="it-IT" sz="1300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uild</a:t>
            </a:r>
            <a:r>
              <a:rPr lang="it-IT" sz="130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a network</a:t>
            </a:r>
          </a:p>
          <a:p>
            <a:pPr marL="457200" indent="-457200" defTabSz="914400">
              <a:buFont typeface="Wingdings" panose="05000000000000000000" pitchFamily="2" charset="2"/>
              <a:buChar char="v"/>
            </a:pPr>
            <a:endParaRPr lang="it-IT" sz="130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457200" indent="-457200" defTabSz="914400">
              <a:buFont typeface="Wingdings" panose="05000000000000000000" pitchFamily="2" charset="2"/>
              <a:buChar char="v"/>
            </a:pPr>
            <a:r>
              <a:rPr lang="it-IT" sz="1300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uild</a:t>
            </a:r>
            <a:r>
              <a:rPr lang="it-IT" sz="130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a </a:t>
            </a:r>
            <a:r>
              <a:rPr lang="it-IT" sz="1300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mmunication</a:t>
            </a:r>
            <a:r>
              <a:rPr lang="it-IT" sz="130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it-IT" sz="1300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latform</a:t>
            </a:r>
            <a:endParaRPr lang="it-IT" sz="130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457200" indent="-457200" defTabSz="914400">
              <a:buFont typeface="Wingdings" panose="05000000000000000000" pitchFamily="2" charset="2"/>
              <a:buChar char="v"/>
            </a:pPr>
            <a:endParaRPr lang="it-IT" sz="130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457200" indent="-457200" defTabSz="914400">
              <a:buFont typeface="Wingdings" panose="05000000000000000000" pitchFamily="2" charset="2"/>
              <a:buChar char="v"/>
            </a:pPr>
            <a:endParaRPr lang="it-IT" sz="130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47" name="Immagine 46"/>
          <p:cNvPicPr>
            <a:picLocks noChangeAspect="1"/>
          </p:cNvPicPr>
          <p:nvPr/>
        </p:nvPicPr>
        <p:blipFill rotWithShape="1">
          <a:blip r:embed="rId6"/>
          <a:srcRect t="15680"/>
          <a:stretch/>
        </p:blipFill>
        <p:spPr>
          <a:xfrm>
            <a:off x="890431" y="1358975"/>
            <a:ext cx="1478545" cy="841933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48" name="Immagine 47"/>
          <p:cNvPicPr>
            <a:picLocks noChangeAspect="1"/>
          </p:cNvPicPr>
          <p:nvPr/>
        </p:nvPicPr>
        <p:blipFill rotWithShape="1">
          <a:blip r:embed="rId7"/>
          <a:srcRect t="-9772" b="34440"/>
          <a:stretch/>
        </p:blipFill>
        <p:spPr>
          <a:xfrm>
            <a:off x="3555968" y="1255152"/>
            <a:ext cx="1490580" cy="94000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49" name="Immagine 48"/>
          <p:cNvPicPr>
            <a:picLocks noChangeAspect="1"/>
          </p:cNvPicPr>
          <p:nvPr/>
        </p:nvPicPr>
        <p:blipFill rotWithShape="1">
          <a:blip r:embed="rId8"/>
          <a:srcRect l="7384" r="7894"/>
          <a:stretch/>
        </p:blipFill>
        <p:spPr>
          <a:xfrm>
            <a:off x="6233159" y="1332171"/>
            <a:ext cx="1508761" cy="81648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9409017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magine 13"/>
          <p:cNvPicPr>
            <a:picLocks noChangeAspect="1"/>
          </p:cNvPicPr>
          <p:nvPr/>
        </p:nvPicPr>
        <p:blipFill rotWithShape="1">
          <a:blip r:embed="rId4"/>
          <a:srcRect l="2355" r="33505"/>
          <a:stretch/>
        </p:blipFill>
        <p:spPr>
          <a:xfrm rot="5400000">
            <a:off x="5578705" y="2295648"/>
            <a:ext cx="5937137" cy="1162968"/>
          </a:xfrm>
          <a:prstGeom prst="rect">
            <a:avLst/>
          </a:prstGeom>
        </p:spPr>
      </p:pic>
      <p:grpSp>
        <p:nvGrpSpPr>
          <p:cNvPr id="13" name="Gruppo 12"/>
          <p:cNvGrpSpPr/>
          <p:nvPr/>
        </p:nvGrpSpPr>
        <p:grpSpPr>
          <a:xfrm>
            <a:off x="-1" y="-54574"/>
            <a:ext cx="9128760" cy="5911431"/>
            <a:chOff x="-1" y="-54574"/>
            <a:chExt cx="9128760" cy="5911431"/>
          </a:xfrm>
        </p:grpSpPr>
        <p:pic>
          <p:nvPicPr>
            <p:cNvPr id="18" name="Immagine 17"/>
            <p:cNvPicPr>
              <a:picLocks noChangeAspect="1"/>
            </p:cNvPicPr>
            <p:nvPr/>
          </p:nvPicPr>
          <p:blipFill rotWithShape="1">
            <a:blip r:embed="rId4"/>
            <a:srcRect r="33505"/>
            <a:stretch/>
          </p:blipFill>
          <p:spPr>
            <a:xfrm>
              <a:off x="-1" y="-54574"/>
              <a:ext cx="9128760" cy="1435268"/>
            </a:xfrm>
            <a:prstGeom prst="rect">
              <a:avLst/>
            </a:prstGeom>
          </p:spPr>
        </p:pic>
        <p:pic>
          <p:nvPicPr>
            <p:cNvPr id="19" name="Immagine 18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0" y="219566"/>
              <a:ext cx="7680960" cy="420514"/>
            </a:xfrm>
            <a:prstGeom prst="rect">
              <a:avLst/>
            </a:prstGeom>
          </p:spPr>
        </p:pic>
        <p:sp>
          <p:nvSpPr>
            <p:cNvPr id="20" name="CasellaDiTesto 19"/>
            <p:cNvSpPr txBox="1"/>
            <p:nvPr/>
          </p:nvSpPr>
          <p:spPr>
            <a:xfrm>
              <a:off x="0" y="148478"/>
              <a:ext cx="729996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2800" dirty="0">
                  <a:solidFill>
                    <a:schemeClr val="bg1"/>
                  </a:solidFill>
                  <a:latin typeface="Calibri" panose="020F0502020204030204" pitchFamily="34" charset="0"/>
                </a:rPr>
                <a:t>A NEW WAY OF DOING BUSINESS</a:t>
              </a:r>
            </a:p>
          </p:txBody>
        </p:sp>
        <p:pic>
          <p:nvPicPr>
            <p:cNvPr id="21" name="Immagine 20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6077488" y="3428999"/>
              <a:ext cx="548645" cy="694431"/>
            </a:xfrm>
            <a:prstGeom prst="rect">
              <a:avLst/>
            </a:prstGeom>
          </p:spPr>
        </p:pic>
        <p:pic>
          <p:nvPicPr>
            <p:cNvPr id="22" name="Immagine 21"/>
            <p:cNvPicPr>
              <a:picLocks noChangeAspect="1"/>
            </p:cNvPicPr>
            <p:nvPr/>
          </p:nvPicPr>
          <p:blipFill>
            <a:blip r:embed="rId7">
              <a:duotone>
                <a:schemeClr val="accent6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0" y="1403650"/>
              <a:ext cx="8214362" cy="4453207"/>
            </a:xfrm>
            <a:prstGeom prst="rect">
              <a:avLst/>
            </a:prstGeom>
          </p:spPr>
        </p:pic>
        <p:sp>
          <p:nvSpPr>
            <p:cNvPr id="23" name="Rettangolo 22"/>
            <p:cNvSpPr/>
            <p:nvPr/>
          </p:nvSpPr>
          <p:spPr>
            <a:xfrm>
              <a:off x="6132903" y="2768103"/>
              <a:ext cx="2655032" cy="190821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57200" indent="-457200" algn="just" defTabSz="914400">
                <a:buFont typeface="Wingdings" panose="05000000000000000000" pitchFamily="2" charset="2"/>
                <a:buChar char="v"/>
              </a:pPr>
              <a:r>
                <a:rPr lang="it-IT" sz="1400" dirty="0">
                  <a:solidFill>
                    <a:schemeClr val="tx1">
                      <a:lumMod val="50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Total </a:t>
              </a:r>
              <a:r>
                <a:rPr lang="it-IT" sz="1400" dirty="0" err="1">
                  <a:solidFill>
                    <a:schemeClr val="tx1">
                      <a:lumMod val="50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transparency</a:t>
              </a:r>
              <a:endParaRPr lang="it-IT" sz="1400" dirty="0">
                <a:solidFill>
                  <a:schemeClr val="tx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pPr marL="457200" indent="-457200" algn="just" defTabSz="914400">
                <a:buFont typeface="Wingdings" panose="05000000000000000000" pitchFamily="2" charset="2"/>
                <a:buChar char="v"/>
              </a:pPr>
              <a:endParaRPr lang="it-IT" sz="1400" dirty="0">
                <a:solidFill>
                  <a:schemeClr val="tx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pPr marL="457200" indent="-457200" algn="just" defTabSz="914400">
                <a:buFont typeface="Wingdings" panose="05000000000000000000" pitchFamily="2" charset="2"/>
                <a:buChar char="v"/>
              </a:pPr>
              <a:r>
                <a:rPr lang="it-IT" sz="1400" dirty="0" err="1">
                  <a:solidFill>
                    <a:schemeClr val="tx1">
                      <a:lumMod val="50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Reciprocity</a:t>
              </a:r>
              <a:endParaRPr lang="it-IT" sz="1400" dirty="0">
                <a:solidFill>
                  <a:schemeClr val="tx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pPr marL="457200" indent="-457200" algn="just" defTabSz="914400">
                <a:buFont typeface="Wingdings" panose="05000000000000000000" pitchFamily="2" charset="2"/>
                <a:buChar char="v"/>
              </a:pPr>
              <a:endParaRPr lang="it-IT" sz="1400" dirty="0">
                <a:solidFill>
                  <a:schemeClr val="tx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pPr marL="457200" indent="-457200" algn="just" defTabSz="914400">
                <a:buFont typeface="Wingdings" panose="05000000000000000000" pitchFamily="2" charset="2"/>
                <a:buChar char="v"/>
              </a:pPr>
              <a:r>
                <a:rPr lang="it-IT" sz="1400" dirty="0">
                  <a:solidFill>
                    <a:schemeClr val="tx1">
                      <a:lumMod val="50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Expectation that business will contribute to society </a:t>
              </a:r>
            </a:p>
            <a:p>
              <a:pPr defTabSz="914400"/>
              <a:endParaRPr lang="it-IT" sz="2000" dirty="0">
                <a:solidFill>
                  <a:schemeClr val="tx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pPr defTabSz="914400"/>
              <a:endParaRPr lang="it-IT" sz="140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pic>
          <p:nvPicPr>
            <p:cNvPr id="24" name="Immagine 23"/>
            <p:cNvPicPr>
              <a:picLocks noChangeAspect="1"/>
            </p:cNvPicPr>
            <p:nvPr/>
          </p:nvPicPr>
          <p:blipFill rotWithShape="1">
            <a:blip r:embed="rId4"/>
            <a:srcRect r="33505"/>
            <a:stretch/>
          </p:blipFill>
          <p:spPr>
            <a:xfrm flipV="1">
              <a:off x="3155604" y="2086258"/>
              <a:ext cx="2817551" cy="442989"/>
            </a:xfrm>
            <a:prstGeom prst="rect">
              <a:avLst/>
            </a:prstGeom>
          </p:spPr>
        </p:pic>
        <p:sp>
          <p:nvSpPr>
            <p:cNvPr id="25" name="Rettangolo 24"/>
            <p:cNvSpPr/>
            <p:nvPr/>
          </p:nvSpPr>
          <p:spPr>
            <a:xfrm>
              <a:off x="3248402" y="1888532"/>
              <a:ext cx="2631954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914400"/>
              <a:r>
                <a:rPr lang="it-IT" sz="2400" cap="all" dirty="0">
                  <a:ln w="9000" cmpd="sng">
                    <a:solidFill>
                      <a:schemeClr val="accent6">
                        <a:lumMod val="75000"/>
                      </a:schemeClr>
                    </a:solidFill>
                    <a:prstDash val="solid"/>
                  </a:ln>
                  <a:solidFill>
                    <a:srgbClr val="FF0000"/>
                  </a:solidFill>
                  <a:effectLst>
                    <a:reflection blurRad="12700" stA="28000" endPos="45000" dist="1000" dir="5400000" sy="-100000" algn="bl" rotWithShape="0"/>
                  </a:effectLst>
                  <a:latin typeface="Tahoma"/>
                  <a:ea typeface="ＭＳ Ｐゴシック" pitchFamily="34" charset="-128"/>
                  <a:sym typeface="Gill Sans" charset="0"/>
                </a:rPr>
                <a:t>The social era</a:t>
              </a:r>
              <a:endParaRPr lang="en-US" sz="2400" dirty="0">
                <a:ln w="9000" cmpd="sng">
                  <a:solidFill>
                    <a:schemeClr val="accent6">
                      <a:lumMod val="75000"/>
                    </a:schemeClr>
                  </a:solidFill>
                  <a:prstDash val="solid"/>
                </a:ln>
                <a:solidFill>
                  <a:srgbClr val="FF0000"/>
                </a:solidFill>
              </a:endParaRPr>
            </a:p>
          </p:txBody>
        </p:sp>
      </p:grpSp>
      <p:sp>
        <p:nvSpPr>
          <p:cNvPr id="26" name="Rettangolo 25"/>
          <p:cNvSpPr/>
          <p:nvPr/>
        </p:nvSpPr>
        <p:spPr>
          <a:xfrm>
            <a:off x="411420" y="2793006"/>
            <a:ext cx="2655032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 algn="just" defTabSz="914400">
              <a:buFont typeface="Wingdings" panose="05000000000000000000" pitchFamily="2" charset="2"/>
              <a:buChar char="v"/>
            </a:pPr>
            <a:r>
              <a:rPr lang="it-IT" sz="1400" dirty="0">
                <a:solidFill>
                  <a:schemeClr val="tx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arketing storytelling</a:t>
            </a:r>
          </a:p>
          <a:p>
            <a:pPr marL="457200" indent="-457200" algn="just" defTabSz="914400">
              <a:buFont typeface="Wingdings" panose="05000000000000000000" pitchFamily="2" charset="2"/>
              <a:buChar char="v"/>
            </a:pPr>
            <a:endParaRPr lang="it-IT" sz="1400" dirty="0">
              <a:solidFill>
                <a:schemeClr val="tx1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457200" indent="-457200" algn="just" defTabSz="914400">
              <a:buFont typeface="Wingdings" panose="05000000000000000000" pitchFamily="2" charset="2"/>
              <a:buChar char="v"/>
            </a:pPr>
            <a:r>
              <a:rPr lang="it-IT" sz="1400" dirty="0" err="1">
                <a:solidFill>
                  <a:schemeClr val="tx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ne</a:t>
            </a:r>
            <a:r>
              <a:rPr lang="it-IT" sz="1400" dirty="0">
                <a:solidFill>
                  <a:schemeClr val="tx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way </a:t>
            </a:r>
            <a:r>
              <a:rPr lang="it-IT" sz="1400" dirty="0" err="1">
                <a:solidFill>
                  <a:schemeClr val="tx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mmunication</a:t>
            </a:r>
            <a:endParaRPr lang="it-IT" sz="1400" dirty="0">
              <a:solidFill>
                <a:schemeClr val="tx1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457200" indent="-457200" algn="just" defTabSz="914400">
              <a:buFont typeface="Wingdings" panose="05000000000000000000" pitchFamily="2" charset="2"/>
              <a:buChar char="v"/>
            </a:pPr>
            <a:endParaRPr lang="it-IT" sz="1400" dirty="0">
              <a:solidFill>
                <a:schemeClr val="tx1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457200" indent="-457200" algn="just" defTabSz="914400">
              <a:buFont typeface="Wingdings" panose="05000000000000000000" pitchFamily="2" charset="2"/>
              <a:buChar char="v"/>
            </a:pPr>
            <a:r>
              <a:rPr lang="it-IT" sz="1400" dirty="0">
                <a:solidFill>
                  <a:schemeClr val="tx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xpectation that business will contribute to internal profits </a:t>
            </a:r>
          </a:p>
          <a:p>
            <a:pPr defTabSz="914400"/>
            <a:endParaRPr lang="it-IT" sz="2000" dirty="0">
              <a:solidFill>
                <a:schemeClr val="tx1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defTabSz="914400"/>
            <a:endParaRPr lang="it-IT" sz="1400" dirty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07856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GcNsbT49EmlBF2bbMG6d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GcNsbT49EmlBF2bbMG6d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.qYwk5j02mBxbiPxfJ8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GcNsbT49EmlBF2bbMG6d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Tema 2015">
  <a:themeElements>
    <a:clrScheme name="Barilla_Group Strategy 1">
      <a:dk1>
        <a:srgbClr val="616365"/>
      </a:dk1>
      <a:lt1>
        <a:srgbClr val="FFFFFF"/>
      </a:lt1>
      <a:dk2>
        <a:srgbClr val="00347B"/>
      </a:dk2>
      <a:lt2>
        <a:srgbClr val="616365"/>
      </a:lt2>
      <a:accent1>
        <a:srgbClr val="007AC9"/>
      </a:accent1>
      <a:accent2>
        <a:srgbClr val="FF7300"/>
      </a:accent2>
      <a:accent3>
        <a:srgbClr val="FFFFFF"/>
      </a:accent3>
      <a:accent4>
        <a:srgbClr val="525355"/>
      </a:accent4>
      <a:accent5>
        <a:srgbClr val="AABEE1"/>
      </a:accent5>
      <a:accent6>
        <a:srgbClr val="E76800"/>
      </a:accent6>
      <a:hlink>
        <a:srgbClr val="3C8A2E"/>
      </a:hlink>
      <a:folHlink>
        <a:srgbClr val="8CD200"/>
      </a:folHlink>
    </a:clrScheme>
    <a:fontScheme name="Barilla_Group Strategy">
      <a:majorFont>
        <a:latin typeface="Arial"/>
        <a:ea typeface=""/>
        <a:cs typeface="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arilla_Group Strategy 1">
        <a:dk1>
          <a:srgbClr val="616365"/>
        </a:dk1>
        <a:lt1>
          <a:srgbClr val="FFFFFF"/>
        </a:lt1>
        <a:dk2>
          <a:srgbClr val="00347B"/>
        </a:dk2>
        <a:lt2>
          <a:srgbClr val="616365"/>
        </a:lt2>
        <a:accent1>
          <a:srgbClr val="007AC9"/>
        </a:accent1>
        <a:accent2>
          <a:srgbClr val="FF7300"/>
        </a:accent2>
        <a:accent3>
          <a:srgbClr val="FFFFFF"/>
        </a:accent3>
        <a:accent4>
          <a:srgbClr val="525355"/>
        </a:accent4>
        <a:accent5>
          <a:srgbClr val="AABEE1"/>
        </a:accent5>
        <a:accent6>
          <a:srgbClr val="E76800"/>
        </a:accent6>
        <a:hlink>
          <a:srgbClr val="3C8A2E"/>
        </a:hlink>
        <a:folHlink>
          <a:srgbClr val="8CD2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heme1" id="{29C8E483-22B5-4196-9287-6FC5AA6E8B9E}" vid="{482DF65F-059E-4703-B74A-C9D788D014D2}"/>
    </a:ext>
  </a:extLst>
</a:theme>
</file>

<file path=ppt/theme/theme3.xml><?xml version="1.0" encoding="utf-8"?>
<a:theme xmlns:a="http://schemas.openxmlformats.org/drawingml/2006/main" name="2_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1_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843</TotalTime>
  <Words>186</Words>
  <Application>Microsoft Office PowerPoint</Application>
  <PresentationFormat>On-screen Show (4:3)</PresentationFormat>
  <Paragraphs>61</Paragraphs>
  <Slides>6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7" baseType="lpstr">
      <vt:lpstr>ＭＳ Ｐゴシック</vt:lpstr>
      <vt:lpstr>Arial</vt:lpstr>
      <vt:lpstr>Calibri</vt:lpstr>
      <vt:lpstr>Gill Sans</vt:lpstr>
      <vt:lpstr>Tahoma</vt:lpstr>
      <vt:lpstr>Wingdings</vt:lpstr>
      <vt:lpstr>Tema di Office</vt:lpstr>
      <vt:lpstr>Tema 2015</vt:lpstr>
      <vt:lpstr>2_Tema di Office</vt:lpstr>
      <vt:lpstr>1_Tema di Offic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Manager/>
  <Company>Visualmade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di PowerPoint</dc:title>
  <dc:subject/>
  <dc:creator>Visualmade Srl</dc:creator>
  <cp:keywords/>
  <dc:description/>
  <cp:lastModifiedBy>Alba Godfrey</cp:lastModifiedBy>
  <cp:revision>307</cp:revision>
  <dcterms:created xsi:type="dcterms:W3CDTF">2015-04-13T12:35:51Z</dcterms:created>
  <dcterms:modified xsi:type="dcterms:W3CDTF">2016-10-18T14:18:01Z</dcterms:modified>
  <cp:category/>
</cp:coreProperties>
</file>